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4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 id="2147475272" r:id="rId107"/>
    <p:sldId id="2147475273" r:id="rId108"/>
    <p:sldId id="2147475274" r:id="rId109"/>
    <p:sldId id="2147475275" r:id="rId110"/>
    <p:sldId id="2147475276" r:id="rId111"/>
    <p:sldId id="2147475277" r:id="rId112"/>
    <p:sldId id="2147475278" r:id="rId113"/>
    <p:sldId id="2147475279" r:id="rId114"/>
    <p:sldId id="2147475280" r:id="rId115"/>
    <p:sldId id="2147475281" r:id="rId116"/>
    <p:sldId id="2147475282" r:id="rId117"/>
    <p:sldId id="2147475283" r:id="rId118"/>
    <p:sldId id="2147475284" r:id="rId119"/>
    <p:sldId id="2147475285" r:id="rId120"/>
    <p:sldId id="2147475286" r:id="rId121"/>
    <p:sldId id="2147475287" r:id="rId122"/>
    <p:sldId id="2147475288" r:id="rId123"/>
    <p:sldId id="2147475289" r:id="rId124"/>
    <p:sldId id="2147475290" r:id="rId125"/>
    <p:sldId id="2147475291" r:id="rId126"/>
    <p:sldId id="2147475292" r:id="rId127"/>
    <p:sldId id="2147475293" r:id="rId128"/>
    <p:sldId id="2147475294" r:id="rId129"/>
    <p:sldId id="2147475295" r:id="rId130"/>
    <p:sldId id="2147475296" r:id="rId131"/>
    <p:sldId id="2147475297" r:id="rId132"/>
    <p:sldId id="2147475298" r:id="rId133"/>
    <p:sldId id="2147475299" r:id="rId134"/>
    <p:sldId id="2147475300" r:id="rId135"/>
    <p:sldId id="2147475301" r:id="rId136"/>
    <p:sldId id="2147475302" r:id="rId137"/>
    <p:sldId id="2147475303" r:id="rId138"/>
    <p:sldId id="2147475304" r:id="rId139"/>
    <p:sldId id="2147475305" r:id="rId140"/>
    <p:sldId id="2147475306" r:id="rId141"/>
    <p:sldId id="2147475307" r:id="rId142"/>
    <p:sldId id="2147475308" r:id="rId143"/>
    <p:sldId id="2147475309" r:id="rId144"/>
    <p:sldId id="2147475310" r:id="rId145"/>
    <p:sldId id="2147475311" r:id="rId1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Manufacturer" id="{6EF0430A-4BDF-45A8-9E80-18185E0F5201}">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Market Trends by Brands" id="{8F7E5227-F7DD-4279-A2E7-EF51EA67E436}">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Lst>
        </p14:section>
        <p14:section name="Market Trends by Sectors" id="{1306A8C3-9843-45EE-94CE-537044D1F4BA}">
          <p14:sldIdLst>
            <p14:sldId id="2147475212"/>
            <p14:sldId id="2147475213"/>
            <p14:sldId id="2147475214"/>
          </p14:sldIdLst>
        </p14:section>
        <p14:section name="Market Trends by Segments" id="{F780E7D4-241F-4CF3-A2C4-25708008CE0D}">
          <p14:sldIdLst>
            <p14:sldId id="2147475215"/>
            <p14:sldId id="2147475216"/>
            <p14:sldId id="2147475217"/>
          </p14:sldIdLst>
        </p14:section>
        <p14:section name="Market Concentration By Manufacturer" id="{D0C3468C-6395-4F21-BA58-47170D42A0D2}">
          <p14:sldIdLst>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 name="Market Concentration By Brands" id="{4875DA09-F8CF-4C8E-848F-296936E90DAF}">
          <p14:sldIdLst>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Lst>
        </p14:section>
        <p14:section name="Market Concentration By Sectors" id="{13A07D44-16A6-4C70-A2ED-E20CA5F16CAF}">
          <p14:sldIdLst>
            <p14:sldId id="2147475260"/>
            <p14:sldId id="2147475261"/>
            <p14:sldId id="2147475262"/>
          </p14:sldIdLst>
        </p14:section>
        <p14:section name="Market Concentration By Segments" id="{28DAF569-94FF-407B-9A08-BA9390A27D85}">
          <p14:sldIdLst>
            <p14:sldId id="2147475263"/>
            <p14:sldId id="2147475264"/>
            <p14:sldId id="2147475265"/>
          </p14:sldIdLst>
        </p14:section>
        <p14:section name="Value Vs AvgPrice By Sectors" id="{D1184106-91D1-46BC-8DE6-17310965BF14}">
          <p14:sldIdLst>
            <p14:sldId id="2147475266"/>
            <p14:sldId id="2147475267"/>
            <p14:sldId id="2147475268"/>
            <p14:sldId id="2147475269"/>
            <p14:sldId id="2147475270"/>
            <p14:sldId id="2147475271"/>
            <p14:sldId id="2147475272"/>
            <p14:sldId id="2147475273"/>
            <p14:sldId id="2147475274"/>
            <p14:sldId id="2147475275"/>
            <p14:sldId id="2147475276"/>
            <p14:sldId id="2147475277"/>
          </p14:sldIdLst>
        </p14:section>
        <p14:section name="Value Vs AvgPrice By Segments" id="{E975F818-4B71-4B1C-9844-BF3B0C1301F9}">
          <p14:sldIdLst>
            <p14:sldId id="2147475278"/>
            <p14:sldId id="2147475279"/>
            <p14:sldId id="2147475280"/>
            <p14:sldId id="2147475281"/>
            <p14:sldId id="2147475282"/>
            <p14:sldId id="2147475283"/>
            <p14:sldId id="2147475284"/>
            <p14:sldId id="2147475285"/>
            <p14:sldId id="2147475286"/>
            <p14:sldId id="2147475287"/>
            <p14:sldId id="2147475288"/>
            <p14:sldId id="2147475289"/>
          </p14:sldIdLst>
        </p14:section>
        <p14:section name="Value Vs AvgPrice By Retailer For Region" id="{5FB9B75F-B534-42E8-BC5C-FEB7DAE8C97E}">
          <p14:sldIdLst>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notesMaster" Target="notesMasters/notesMaster1.xml"/><Relationship Id="rId148" Type="http://schemas.openxmlformats.org/officeDocument/2006/relationships/presProps" Target="presProps.xml"/><Relationship Id="rId149" Type="http://schemas.openxmlformats.org/officeDocument/2006/relationships/viewProps" Target="viewProps.xml"/><Relationship Id="rId150" Type="http://schemas.openxmlformats.org/officeDocument/2006/relationships/theme" Target="theme/theme1.xml"/><Relationship Id="rId151" Type="http://schemas.openxmlformats.org/officeDocument/2006/relationships/tableStyles" Target="tableStyles.xml"/><Relationship Id="rId152"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283.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5.5</a:t>
                    </a:r>
                  </a:p>
                </c:rich>
              </c:tx>
              <c:showLegendKey val="0"/>
              <c:showVal val="1"/>
              <c:showCatName val="0"/>
              <c:showSerName val="0"/>
              <c:showPercent val="0"/>
              <c:showBubbleSize val="0"/>
            </c:dLbl>
            <c:dLbl>
              <c:idx val="2"/>
              <c:tx>
                <c:rich>
                  <a:bodyPr/>
                  <a:lstStyle/>
                  <a:p>
                    <a:r>
                      <a:rPr>
                        <a:solidFill>
                          <a:srgbClr val="FFFFFF"/>
                        </a:solidFill>
                      </a:rPr>
                      <a:t>13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1.595496</c:v>
                </c:pt>
                <c:pt idx="1">
                  <c:v>495.514275</c:v>
                </c:pt>
                <c:pt idx="2">
                  <c:v>136.827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9.3</a:t>
                    </a:r>
                  </a:p>
                </c:rich>
              </c:tx>
              <c:showLegendKey val="0"/>
              <c:showVal val="1"/>
              <c:showCatName val="0"/>
              <c:showSerName val="0"/>
              <c:showPercent val="0"/>
              <c:showBubbleSize val="0"/>
            </c:dLbl>
            <c:dLbl>
              <c:idx val="2"/>
              <c:tx>
                <c:rich>
                  <a:bodyPr/>
                  <a:lstStyle/>
                  <a:p>
                    <a:r>
                      <a:rPr>
                        <a:solidFill>
                          <a:srgbClr val="FFFFFF"/>
                        </a:solidFill>
                      </a:rPr>
                      <a:t>3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7.879175</c:v>
                </c:pt>
                <c:pt idx="1">
                  <c:v>119.297444</c:v>
                </c:pt>
                <c:pt idx="2">
                  <c:v>37.85477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4.9</a:t>
                    </a:r>
                  </a:p>
                </c:rich>
              </c:tx>
              <c:showLegendKey val="0"/>
              <c:showVal val="1"/>
              <c:showCatName val="0"/>
              <c:showSerName val="0"/>
              <c:showPercent val="0"/>
              <c:showBubbleSize val="0"/>
            </c:dLbl>
            <c:dLbl>
              <c:idx val="2"/>
              <c:tx>
                <c:rich>
                  <a:bodyPr/>
                  <a:lstStyle/>
                  <a:p>
                    <a:r>
                      <a:rPr>
                        <a:solidFill>
                          <a:srgbClr val="FFFFFF"/>
                        </a:solidFill>
                      </a:rPr>
                      <a:t>4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7.241985</c:v>
                </c:pt>
                <c:pt idx="1">
                  <c:v>94.937889</c:v>
                </c:pt>
                <c:pt idx="2">
                  <c:v>43.1403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3</a:t>
                    </a:r>
                  </a:p>
                </c:rich>
              </c:tx>
              <c:showLegendKey val="0"/>
              <c:showVal val="1"/>
              <c:showCatName val="0"/>
              <c:showSerName val="0"/>
              <c:showPercent val="0"/>
              <c:showBubbleSize val="0"/>
            </c:dLbl>
            <c:dLbl>
              <c:idx val="2"/>
              <c:tx>
                <c:rich>
                  <a:bodyPr/>
                  <a:lstStyle/>
                  <a:p>
                    <a:r>
                      <a:rPr>
                        <a:solidFill>
                          <a:srgbClr val="FFFFFF"/>
                        </a:solidFill>
                      </a:rPr>
                      <a:t>2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48.424619</c:v>
                </c:pt>
                <c:pt idx="1">
                  <c:v>50.2531</c:v>
                </c:pt>
                <c:pt idx="2">
                  <c:v>25.94194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4</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2.422761</c:v>
                </c:pt>
                <c:pt idx="1">
                  <c:v>22.438869</c:v>
                </c:pt>
                <c:pt idx="2">
                  <c:v>2.89071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3</a:t>
                    </a:r>
                  </a:p>
                </c:rich>
              </c:tx>
              <c:showLegendKey val="0"/>
              <c:showVal val="1"/>
              <c:showCatName val="0"/>
              <c:showSerName val="0"/>
              <c:showPercent val="0"/>
              <c:showBubbleSize val="0"/>
            </c:dLbl>
            <c:dLbl>
              <c:idx val="2"/>
              <c:tx>
                <c:rich>
                  <a:bodyPr/>
                  <a:lstStyle/>
                  <a:p>
                    <a:r>
                      <a:rPr>
                        <a:solidFill>
                          <a:srgbClr val="FFFFFF"/>
                        </a:solidFill>
                      </a:rPr>
                      <a:t>1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870369</c:v>
                </c:pt>
                <c:pt idx="1">
                  <c:v>21.257839</c:v>
                </c:pt>
                <c:pt idx="2">
                  <c:v>10.18457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0</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7.884878</c:v>
                </c:pt>
                <c:pt idx="1">
                  <c:v>9.026239</c:v>
                </c:pt>
                <c:pt idx="2">
                  <c:v>4.16057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3</a:t>
                    </a:r>
                  </a:p>
                </c:rich>
              </c:tx>
              <c:showLegendKey val="0"/>
              <c:showVal val="1"/>
              <c:showCatName val="0"/>
              <c:showSerName val="0"/>
              <c:showPercent val="0"/>
              <c:showBubbleSize val="0"/>
            </c:dLbl>
            <c:dLbl>
              <c:idx val="2"/>
              <c:tx>
                <c:rich>
                  <a:bodyPr/>
                  <a:lstStyle/>
                  <a:p>
                    <a:r>
                      <a:rPr>
                        <a:solidFill>
                          <a:srgbClr val="FFFFFF"/>
                        </a:solidFill>
                      </a:rPr>
                      <a:t>2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2.251994</c:v>
                </c:pt>
                <c:pt idx="1">
                  <c:v>73.30564</c:v>
                </c:pt>
                <c:pt idx="2">
                  <c:v>25.28635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233.6</a:t>
                    </a:r>
                  </a:p>
                </c:rich>
              </c:tx>
              <c:showLegendKey val="0"/>
              <c:showVal val="1"/>
              <c:showCatName val="0"/>
              <c:showSerName val="0"/>
              <c:showPercent val="0"/>
              <c:showBubbleSize val="0"/>
            </c:dLbl>
            <c:dLbl>
              <c:idx val="1"/>
              <c:tx>
                <c:rich>
                  <a:bodyPr/>
                  <a:lstStyle/>
                  <a:p>
                    <a:r>
                      <a:rPr>
                        <a:solidFill>
                          <a:srgbClr val="FFFFFF"/>
                        </a:solidFill>
                      </a:rPr>
                      <a:t>246.2</a:t>
                    </a:r>
                  </a:p>
                </c:rich>
              </c:tx>
              <c:showLegendKey val="0"/>
              <c:showVal val="1"/>
              <c:showCatName val="0"/>
              <c:showSerName val="0"/>
              <c:showPercent val="0"/>
              <c:showBubbleSize val="0"/>
            </c:dLbl>
            <c:dLbl>
              <c:idx val="2"/>
              <c:tx>
                <c:rich>
                  <a:bodyPr/>
                  <a:lstStyle/>
                  <a:p>
                    <a:r>
                      <a:rPr>
                        <a:solidFill>
                          <a:srgbClr val="FFFFFF"/>
                        </a:solidFill>
                      </a:rPr>
                      <a:t>15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3.623805</c:v>
                </c:pt>
                <c:pt idx="1">
                  <c:v>246.188472</c:v>
                </c:pt>
                <c:pt idx="2">
                  <c:v>152.5967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a:solidFill>
                          <a:srgbClr val="FFFFFF"/>
                        </a:solidFill>
                      </a:rPr>
                      <a:t>130.0</a:t>
                    </a:r>
                  </a:p>
                </c:rich>
              </c:tx>
              <c:showLegendKey val="0"/>
              <c:showVal val="1"/>
              <c:showCatName val="0"/>
              <c:showSerName val="0"/>
              <c:showPercent val="0"/>
              <c:showBubbleSize val="0"/>
            </c:dLbl>
            <c:dLbl>
              <c:idx val="1"/>
              <c:tx>
                <c:rich>
                  <a:bodyPr/>
                  <a:lstStyle/>
                  <a:p>
                    <a:r>
                      <a:rPr>
                        <a:solidFill>
                          <a:srgbClr val="FFFFFF"/>
                        </a:solidFill>
                      </a:rPr>
                      <a:t>130.0</a:t>
                    </a:r>
                  </a:p>
                </c:rich>
              </c:tx>
              <c:showLegendKey val="0"/>
              <c:showVal val="1"/>
              <c:showCatName val="0"/>
              <c:showSerName val="0"/>
              <c:showPercent val="0"/>
              <c:showBubbleSize val="0"/>
            </c:dLbl>
            <c:dLbl>
              <c:idx val="2"/>
              <c:tx>
                <c:rich>
                  <a:bodyPr/>
                  <a:lstStyle/>
                  <a:p>
                    <a:r>
                      <a:rPr>
                        <a:solidFill>
                          <a:srgbClr val="FFFFFF"/>
                        </a:solidFill>
                      </a:rPr>
                      <a:t>8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9.98938</c:v>
                </c:pt>
                <c:pt idx="1">
                  <c:v>130.023048</c:v>
                </c:pt>
                <c:pt idx="2">
                  <c:v>82.93906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a:solidFill>
                          <a:srgbClr val="FFFFFF"/>
                        </a:solidFill>
                      </a:rPr>
                      <a:t>95.2</a:t>
                    </a:r>
                  </a:p>
                </c:rich>
              </c:tx>
              <c:showLegendKey val="0"/>
              <c:showVal val="1"/>
              <c:showCatName val="0"/>
              <c:showSerName val="0"/>
              <c:showPercent val="0"/>
              <c:showBubbleSize val="0"/>
            </c:dLbl>
            <c:dLbl>
              <c:idx val="1"/>
              <c:tx>
                <c:rich>
                  <a:bodyPr/>
                  <a:lstStyle/>
                  <a:p>
                    <a:r>
                      <a:rPr>
                        <a:solidFill>
                          <a:srgbClr val="FFFFFF"/>
                        </a:solidFill>
                      </a:rPr>
                      <a:t>92.0</a:t>
                    </a:r>
                  </a:p>
                </c:rich>
              </c:tx>
              <c:showLegendKey val="0"/>
              <c:showVal val="1"/>
              <c:showCatName val="0"/>
              <c:showSerName val="0"/>
              <c:showPercent val="0"/>
              <c:showBubbleSize val="0"/>
            </c:dLbl>
            <c:dLbl>
              <c:idx val="2"/>
              <c:tx>
                <c:rich>
                  <a:bodyPr/>
                  <a:lstStyle/>
                  <a:p>
                    <a:r>
                      <a:rPr>
                        <a:solidFill>
                          <a:srgbClr val="FFFFFF"/>
                        </a:solidFill>
                      </a:rPr>
                      <a:t>5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5.195932</c:v>
                </c:pt>
                <c:pt idx="1">
                  <c:v>91.963503</c:v>
                </c:pt>
                <c:pt idx="2">
                  <c:v>58.8914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87.2</a:t>
                    </a:r>
                  </a:p>
                </c:rich>
              </c:tx>
              <c:showLegendKey val="0"/>
              <c:showVal val="1"/>
              <c:showCatName val="0"/>
              <c:showSerName val="0"/>
              <c:showPercent val="0"/>
              <c:showBubbleSize val="0"/>
            </c:dLbl>
            <c:dLbl>
              <c:idx val="1"/>
              <c:tx>
                <c:rich>
                  <a:bodyPr/>
                  <a:lstStyle/>
                  <a:p>
                    <a:r>
                      <a:rPr>
                        <a:solidFill>
                          <a:srgbClr val="FFFFFF"/>
                        </a:solidFill>
                      </a:rPr>
                      <a:t>90.0</a:t>
                    </a:r>
                  </a:p>
                </c:rich>
              </c:tx>
              <c:showLegendKey val="0"/>
              <c:showVal val="1"/>
              <c:showCatName val="0"/>
              <c:showSerName val="0"/>
              <c:showPercent val="0"/>
              <c:showBubbleSize val="0"/>
            </c:dLbl>
            <c:dLbl>
              <c:idx val="2"/>
              <c:tx>
                <c:rich>
                  <a:bodyPr/>
                  <a:lstStyle/>
                  <a:p>
                    <a:r>
                      <a:rPr>
                        <a:solidFill>
                          <a:srgbClr val="FFFFFF"/>
                        </a:solidFill>
                      </a:rPr>
                      <a:t>5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87.211272</c:v>
                </c:pt>
                <c:pt idx="1">
                  <c:v>90.035324</c:v>
                </c:pt>
                <c:pt idx="2">
                  <c:v>54.8196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35.8</a:t>
                    </a:r>
                  </a:p>
                </c:rich>
              </c:tx>
              <c:showLegendKey val="0"/>
              <c:showVal val="1"/>
              <c:showCatName val="0"/>
              <c:showSerName val="0"/>
              <c:showPercent val="0"/>
              <c:showBubbleSize val="0"/>
            </c:dLbl>
            <c:dLbl>
              <c:idx val="1"/>
              <c:tx>
                <c:rich>
                  <a:bodyPr/>
                  <a:lstStyle/>
                  <a:p>
                    <a:r>
                      <a:rPr>
                        <a:solidFill>
                          <a:srgbClr val="FFFFFF"/>
                        </a:solidFill>
                      </a:rPr>
                      <a:t>34.3</a:t>
                    </a:r>
                  </a:p>
                </c:rich>
              </c:tx>
              <c:showLegendKey val="0"/>
              <c:showVal val="1"/>
              <c:showCatName val="0"/>
              <c:showSerName val="0"/>
              <c:showPercent val="0"/>
              <c:showBubbleSize val="0"/>
            </c:dLbl>
            <c:dLbl>
              <c:idx val="2"/>
              <c:tx>
                <c:rich>
                  <a:bodyPr/>
                  <a:lstStyle/>
                  <a:p>
                    <a:r>
                      <a:rPr>
                        <a:solidFill>
                          <a:srgbClr val="FFFFFF"/>
                        </a:solidFill>
                      </a:rPr>
                      <a:t>2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5.811758</c:v>
                </c:pt>
                <c:pt idx="1">
                  <c:v>34.294609</c:v>
                </c:pt>
                <c:pt idx="2">
                  <c:v>20.81757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13.7</a:t>
                    </a:r>
                  </a:p>
                </c:rich>
              </c:tx>
              <c:showLegendKey val="0"/>
              <c:showVal val="1"/>
              <c:showCatName val="0"/>
              <c:showSerName val="0"/>
              <c:showPercent val="0"/>
              <c:showBubbleSize val="0"/>
            </c:dLbl>
            <c:dLbl>
              <c:idx val="1"/>
              <c:tx>
                <c:rich>
                  <a:bodyPr/>
                  <a:lstStyle/>
                  <a:p>
                    <a:r>
                      <a:rPr>
                        <a:solidFill>
                          <a:srgbClr val="FFFFFF"/>
                        </a:solidFill>
                      </a:rPr>
                      <a:t>115.5</a:t>
                    </a:r>
                  </a:p>
                </c:rich>
              </c:tx>
              <c:showLegendKey val="0"/>
              <c:showVal val="1"/>
              <c:showCatName val="0"/>
              <c:showSerName val="0"/>
              <c:showPercent val="0"/>
              <c:showBubbleSize val="0"/>
            </c:dLbl>
            <c:dLbl>
              <c:idx val="2"/>
              <c:tx>
                <c:rich>
                  <a:bodyPr/>
                  <a:lstStyle/>
                  <a:p>
                    <a:r>
                      <a:rPr>
                        <a:solidFill>
                          <a:srgbClr val="FFFFFF"/>
                        </a:solidFill>
                      </a:rPr>
                      <a:t>8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13.722787</c:v>
                </c:pt>
                <c:pt idx="1">
                  <c:v>115.485004</c:v>
                </c:pt>
                <c:pt idx="2">
                  <c:v>80.40295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21794372822281</c:v>
                </c:pt>
                <c:pt idx="1">
                  <c:v>0.5057575330773668</c:v>
                </c:pt>
                <c:pt idx="2">
                  <c:v>0.3791299783454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47406372862854</c:v>
                </c:pt>
                <c:pt idx="1">
                  <c:v>0.1446332463511854</c:v>
                </c:pt>
                <c:pt idx="2">
                  <c:v>0.1314248358590282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55596978635784</c:v>
                </c:pt>
                <c:pt idx="1">
                  <c:v>0.11444066473212203</c:v>
                </c:pt>
                <c:pt idx="2">
                  <c:v>0.1797924824381342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328339065893162</c:v>
                </c:pt>
                <c:pt idx="1">
                  <c:v>0.07395846085815698</c:v>
                </c:pt>
                <c:pt idx="2">
                  <c:v>0.1317451035589282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5068727125377353</c:v>
                </c:pt>
                <c:pt idx="1">
                  <c:v>0.024108224313735205</c:v>
                </c:pt>
                <c:pt idx="2">
                  <c:v>0.041002823510649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ntremon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7407607899407122</c:v>
                </c:pt>
                <c:pt idx="1">
                  <c:v>0.025232024010376605</c:v>
                </c:pt>
                <c:pt idx="2">
                  <c:v>0.00170466283996602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876656405475349</c:v>
                </c:pt>
                <c:pt idx="1">
                  <c:v>0.011194123871785101</c:v>
                </c:pt>
                <c:pt idx="2">
                  <c:v>0.017714146428687932</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Lait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8564437642080999</c:v>
                </c:pt>
                <c:pt idx="1">
                  <c:v>0.009780015930448707</c:v>
                </c:pt>
                <c:pt idx="2">
                  <c:v>0.02282451041630169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8858598139429248</c:v>
                </c:pt>
                <c:pt idx="1">
                  <c:v>0.0908957068548232</c:v>
                </c:pt>
                <c:pt idx="2">
                  <c:v>0.094661456602870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30311833611377</c:v>
                </c:pt>
                <c:pt idx="1">
                  <c:v>0.455828225508957</c:v>
                </c:pt>
                <c:pt idx="2">
                  <c:v>0.44906951912998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7%</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921648535754663</c:v>
                </c:pt>
                <c:pt idx="1">
                  <c:v>0.1671991778143043</c:v>
                </c:pt>
                <c:pt idx="2">
                  <c:v>0.1742866535034163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415500128550116</c:v>
                </c:pt>
                <c:pt idx="1">
                  <c:v>0.13991916029832305</c:v>
                </c:pt>
                <c:pt idx="2">
                  <c:v>0.134883710650730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75042294550057</c:v>
                </c:pt>
                <c:pt idx="1">
                  <c:v>0.07813717041771275</c:v>
                </c:pt>
                <c:pt idx="2">
                  <c:v>0.076847640257118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650465670320411</c:v>
                </c:pt>
                <c:pt idx="1">
                  <c:v>0.04749367738779361</c:v>
                </c:pt>
                <c:pt idx="2">
                  <c:v>0.04583941935248682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4471071446486576</c:v>
                </c:pt>
                <c:pt idx="1">
                  <c:v>0.032784338089133135</c:v>
                </c:pt>
                <c:pt idx="2">
                  <c:v>0.03060489609709381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7511737239111811</c:v>
                </c:pt>
                <c:pt idx="1">
                  <c:v>0.07863825048377616</c:v>
                </c:pt>
                <c:pt idx="2">
                  <c:v>0.0884681610091725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0831090068017</c:v>
                </c:pt>
                <c:pt idx="1">
                  <c:v>0.5346190205615226</c:v>
                </c:pt>
                <c:pt idx="2">
                  <c:v>0.52766368830057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877053672140312</c:v>
                </c:pt>
                <c:pt idx="1">
                  <c:v>0.15814883711018693</c:v>
                </c:pt>
                <c:pt idx="2">
                  <c:v>0.16498611089198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41340335100923</c:v>
                </c:pt>
                <c:pt idx="1">
                  <c:v>0.12112052816282477</c:v>
                </c:pt>
                <c:pt idx="2">
                  <c:v>0.1158467096855623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177306078507548</c:v>
                </c:pt>
                <c:pt idx="1">
                  <c:v>0.06282090768610714</c:v>
                </c:pt>
                <c:pt idx="2">
                  <c:v>0.060715656318641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543511620697423</c:v>
                </c:pt>
                <c:pt idx="1">
                  <c:v>0.035184486703301</c:v>
                </c:pt>
                <c:pt idx="2">
                  <c:v>0.0351098980273364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956640773465959</c:v>
                </c:pt>
                <c:pt idx="1">
                  <c:v>0.02812566780624004</c:v>
                </c:pt>
                <c:pt idx="2">
                  <c:v>0.027130709776718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9489754973778355</c:v>
                </c:pt>
                <c:pt idx="1">
                  <c:v>0.05998055196981754</c:v>
                </c:pt>
                <c:pt idx="2">
                  <c:v>0.068547226999177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413551677960666</c:v>
                </c:pt>
                <c:pt idx="1">
                  <c:v>0.3905697083415578</c:v>
                </c:pt>
                <c:pt idx="2">
                  <c:v>0.39020706664347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902021442404932</c:v>
                </c:pt>
                <c:pt idx="1">
                  <c:v>0.18092555602712387</c:v>
                </c:pt>
                <c:pt idx="2">
                  <c:v>0.174714339059552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431517425971684</c:v>
                </c:pt>
                <c:pt idx="1">
                  <c:v>0.12798939284710972</c:v>
                </c:pt>
                <c:pt idx="2">
                  <c:v>0.13203536317732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958555443338078</c:v>
                </c:pt>
                <c:pt idx="1">
                  <c:v>0.11136031043410766</c:v>
                </c:pt>
                <c:pt idx="2">
                  <c:v>0.1058802846570983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4663329947825</c:v>
                </c:pt>
                <c:pt idx="1">
                  <c:v>0.050029857733964386</c:v>
                </c:pt>
                <c:pt idx="2">
                  <c:v>0.0457696923191127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3828021015542138</c:v>
                </c:pt>
                <c:pt idx="1">
                  <c:v>0.13912517461613655</c:v>
                </c:pt>
                <c:pt idx="2">
                  <c:v>0.1513932541434395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590126092188603</c:v>
                </c:pt>
                <c:pt idx="1">
                  <c:v>0.46045110992666394</c:v>
                </c:pt>
                <c:pt idx="2">
                  <c:v>0.456809533541405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08220626343748</c:v>
                </c:pt>
                <c:pt idx="1">
                  <c:v>0.17211403915260773</c:v>
                </c:pt>
                <c:pt idx="2">
                  <c:v>0.168099097279747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994788464982435</c:v>
                </c:pt>
                <c:pt idx="1">
                  <c:v>0.1240420746739949</c:v>
                </c:pt>
                <c:pt idx="2">
                  <c:v>0.1284288496664229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1824391014212</c:v>
                </c:pt>
                <c:pt idx="1">
                  <c:v>0.09433898220463234</c:v>
                </c:pt>
                <c:pt idx="2">
                  <c:v>0.0907440230589572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91125253592765</c:v>
                </c:pt>
                <c:pt idx="1">
                  <c:v>0.045148749629129334</c:v>
                </c:pt>
                <c:pt idx="2">
                  <c:v>0.0418965877375122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0239187542042633</c:v>
                </c:pt>
                <c:pt idx="1">
                  <c:v>0.10390504441297178</c:v>
                </c:pt>
                <c:pt idx="2">
                  <c:v>0.114021908715954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8811699551541</c:v>
                </c:pt>
                <c:pt idx="1">
                  <c:v>0.34772876157735344</c:v>
                </c:pt>
                <c:pt idx="2">
                  <c:v>0.338752069944342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68858570989592</c:v>
                </c:pt>
                <c:pt idx="1">
                  <c:v>0.18365097719747325</c:v>
                </c:pt>
                <c:pt idx="2">
                  <c:v>0.1841177812488488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686328332479344</c:v>
                </c:pt>
                <c:pt idx="1">
                  <c:v>0.12989379538658993</c:v>
                </c:pt>
                <c:pt idx="2">
                  <c:v>0.130733992295371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538372993555674</c:v>
                </c:pt>
                <c:pt idx="1">
                  <c:v>0.12717034009917316</c:v>
                </c:pt>
                <c:pt idx="2">
                  <c:v>0.1216950368349164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1486599044095055</c:v>
                </c:pt>
                <c:pt idx="1">
                  <c:v>0.048439400185844445</c:v>
                </c:pt>
                <c:pt idx="2">
                  <c:v>0.0462132837991264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6349936064144144</c:v>
                </c:pt>
                <c:pt idx="1">
                  <c:v>0.16311672555356577</c:v>
                </c:pt>
                <c:pt idx="2">
                  <c:v>0.178487835877393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101810632082184</c:v>
                </c:pt>
                <c:pt idx="1">
                  <c:v>0.3923065094733251</c:v>
                </c:pt>
                <c:pt idx="2">
                  <c:v>0.382047787257795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41195347232507</c:v>
                </c:pt>
                <c:pt idx="1">
                  <c:v>0.17933033326262277</c:v>
                </c:pt>
                <c:pt idx="2">
                  <c:v>0.183243293387563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329081551327416</c:v>
                </c:pt>
                <c:pt idx="1">
                  <c:v>0.13590214387924582</c:v>
                </c:pt>
                <c:pt idx="2">
                  <c:v>0.1353070291125030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115675723057388</c:v>
                </c:pt>
                <c:pt idx="1">
                  <c:v>0.12353159209941796</c:v>
                </c:pt>
                <c:pt idx="2">
                  <c:v>0.1181865707561266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8262223310323045</c:v>
                </c:pt>
                <c:pt idx="1">
                  <c:v>0.04491486530179103</c:v>
                </c:pt>
                <c:pt idx="2">
                  <c:v>0.0434271018381783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12215256290175637</c:v>
                </c:pt>
                <c:pt idx="1">
                  <c:v>0.1240145559835973</c:v>
                </c:pt>
                <c:pt idx="2">
                  <c:v>0.137788217647832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27043869336688</c:v>
                </c:pt>
                <c:pt idx="1">
                  <c:v>0.33309428561066473</c:v>
                </c:pt>
                <c:pt idx="2">
                  <c:v>0.33096505252607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3%</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398954442227102</c:v>
                </c:pt>
                <c:pt idx="1">
                  <c:v>0.21596673027167812</c:v>
                </c:pt>
                <c:pt idx="2">
                  <c:v>0.2046729512473185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12603572795879</c:v>
                </c:pt>
                <c:pt idx="1">
                  <c:v>0.15170813341959116</c:v>
                </c:pt>
                <c:pt idx="2">
                  <c:v>0.1618185502782002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744518378672234</c:v>
                </c:pt>
                <c:pt idx="1">
                  <c:v>0.13273275884096836</c:v>
                </c:pt>
                <c:pt idx="2">
                  <c:v>0.1273823594060696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845923274152406</c:v>
                </c:pt>
                <c:pt idx="1">
                  <c:v>0.06358980145959013</c:v>
                </c:pt>
                <c:pt idx="2">
                  <c:v>0.05573578138787699</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9614129483622588</c:v>
                </c:pt>
                <c:pt idx="1">
                  <c:v>0.10290829039750748</c:v>
                </c:pt>
                <c:pt idx="2">
                  <c:v>0.119425305154462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6223931319958</c:v>
                </c:pt>
                <c:pt idx="1">
                  <c:v>0.3997138172150152</c:v>
                </c:pt>
                <c:pt idx="2">
                  <c:v>0.3960194417329764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2003338704271821</c:v>
                </c:pt>
                <c:pt idx="1">
                  <c:v>0.20311213516454726</c:v>
                </c:pt>
                <c:pt idx="2">
                  <c:v>0.1926621285156728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462690654666771</c:v>
                </c:pt>
                <c:pt idx="1">
                  <c:v>0.14837235990563877</c:v>
                </c:pt>
                <c:pt idx="2">
                  <c:v>0.157100336574576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29135189507274</c:v>
                </c:pt>
                <c:pt idx="1">
                  <c:v>0.1091096362994246</c:v>
                </c:pt>
                <c:pt idx="2">
                  <c:v>0.1051083706020527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9903647593263304</c:v>
                </c:pt>
                <c:pt idx="1">
                  <c:v>0.056454833964870464</c:v>
                </c:pt>
                <c:pt idx="2">
                  <c:v>0.051463072000114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2579878146182</c:v>
                </c:pt>
                <c:pt idx="1">
                  <c:v>0.08323721745050369</c:v>
                </c:pt>
                <c:pt idx="2">
                  <c:v>0.0976466505746064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0%</a:t>
                    </a:r>
                  </a:p>
                </c:rich>
              </c:tx>
              <c:showLegendKey val="0"/>
              <c:showVal val="1"/>
              <c:showCatName val="0"/>
              <c:showSerName val="0"/>
              <c:showPercent val="0"/>
              <c:showBubbleSize val="0"/>
            </c:dLbl>
            <c:dLbl>
              <c:idx val="1"/>
              <c:tx>
                <c:rich>
                  <a:bodyPr/>
                  <a:lstStyle/>
                  <a:p>
                    <a:r>
                      <a:rPr sz="800">
                        <a:solidFill>
                          <a:srgbClr val="FFFFFF"/>
                        </a:solidFill>
                        <a:latin typeface="Nexa Book"/>
                      </a:rPr>
                      <a:t>70%</a:t>
                    </a:r>
                  </a:p>
                </c:rich>
              </c:tx>
              <c:showLegendKey val="0"/>
              <c:showVal val="1"/>
              <c:showCatName val="0"/>
              <c:showSerName val="0"/>
              <c:showPercent val="0"/>
              <c:showBubbleSize val="0"/>
            </c:dLbl>
            <c:dLbl>
              <c:idx val="2"/>
              <c:tx>
                <c:rich>
                  <a:bodyPr/>
                  <a:lstStyle/>
                  <a:p>
                    <a:r>
                      <a:rPr sz="800">
                        <a:solidFill>
                          <a:srgbClr val="FFFFFF"/>
                        </a:solidFill>
                        <a:latin typeface="Nexa Book"/>
                      </a:rPr>
                      <a:t>6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80078765762765</c:v>
                </c:pt>
                <c:pt idx="1">
                  <c:v>0.7045042291602723</c:v>
                </c:pt>
                <c:pt idx="2">
                  <c:v>0.67739145225223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199212342372345</c:v>
                </c:pt>
                <c:pt idx="1">
                  <c:v>0.2954957708397277</c:v>
                </c:pt>
                <c:pt idx="2">
                  <c:v>0.32260854774776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714142</c:v>
                </c:pt>
                <c:pt idx="1">
                  <c:v>19.377649</c:v>
                </c:pt>
                <c:pt idx="2">
                  <c:v>12.0319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8</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927357</c:v>
                </c:pt>
                <c:pt idx="1">
                  <c:v>9.846634</c:v>
                </c:pt>
                <c:pt idx="2">
                  <c:v>5.85351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2</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599295</c:v>
                </c:pt>
                <c:pt idx="1">
                  <c:v>7.192915</c:v>
                </c:pt>
                <c:pt idx="2">
                  <c:v>4.77306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3</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4.643201</c:v>
                </c:pt>
                <c:pt idx="1">
                  <c:v>5.289505</c:v>
                </c:pt>
                <c:pt idx="2">
                  <c:v>3.19343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702703</c:v>
                </c:pt>
                <c:pt idx="1">
                  <c:v>2.736863</c:v>
                </c:pt>
                <c:pt idx="2">
                  <c:v>1.5635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530805</c:v>
                </c:pt>
                <c:pt idx="1">
                  <c:v>4.035241</c:v>
                </c:pt>
                <c:pt idx="2">
                  <c:v>2.96672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523043950345261</c:v>
                </c:pt>
                <c:pt idx="1">
                  <c:v>0.7589485783958991</c:v>
                </c:pt>
                <c:pt idx="2">
                  <c:v>0.72591777033970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769560496547396</c:v>
                </c:pt>
                <c:pt idx="1">
                  <c:v>0.24105142160410087</c:v>
                </c:pt>
                <c:pt idx="2">
                  <c:v>0.274082229660298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9%</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40634942673926</c:v>
                </c:pt>
                <c:pt idx="1">
                  <c:v>0.7060195242483976</c:v>
                </c:pt>
                <c:pt idx="2">
                  <c:v>0.698673513394115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059365057326075</c:v>
                </c:pt>
                <c:pt idx="1">
                  <c:v>0.2939804757516024</c:v>
                </c:pt>
                <c:pt idx="2">
                  <c:v>0.301326486605884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532181970426232</c:v>
                </c:pt>
                <c:pt idx="1">
                  <c:v>0.7582653243935709</c:v>
                </c:pt>
                <c:pt idx="2">
                  <c:v>0.746213369642193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678180295737676</c:v>
                </c:pt>
                <c:pt idx="1">
                  <c:v>0.2417346756064291</c:v>
                </c:pt>
                <c:pt idx="2">
                  <c:v>0.253786630357806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3%</a:t>
                    </a:r>
                  </a:p>
                </c:rich>
              </c:tx>
              <c:showLegendKey val="0"/>
              <c:showVal val="1"/>
              <c:showCatName val="0"/>
              <c:showSerName val="0"/>
              <c:showPercent val="0"/>
              <c:showBubbleSize val="0"/>
            </c:dLbl>
            <c:dLbl>
              <c:idx val="1"/>
              <c:tx>
                <c:rich>
                  <a:bodyPr/>
                  <a:lstStyle/>
                  <a:p>
                    <a:r>
                      <a:rPr sz="800">
                        <a:solidFill>
                          <a:srgbClr val="FFFFFF"/>
                        </a:solidFill>
                        <a:latin typeface="Nexa Book"/>
                      </a:rPr>
                      <a:t>75%</a:t>
                    </a:r>
                  </a:p>
                </c:rich>
              </c:tx>
              <c:showLegendKey val="0"/>
              <c:showVal val="1"/>
              <c:showCatName val="0"/>
              <c:showSerName val="0"/>
              <c:showPercent val="0"/>
              <c:showBubbleSize val="0"/>
            </c:dLbl>
            <c:dLbl>
              <c:idx val="2"/>
              <c:tx>
                <c:rich>
                  <a:bodyPr/>
                  <a:lstStyle/>
                  <a:p>
                    <a:r>
                      <a:rPr sz="800">
                        <a:solidFill>
                          <a:srgbClr val="FFFFFF"/>
                        </a:solidFill>
                        <a:latin typeface="Nexa Book"/>
                      </a:rPr>
                      <a:t>7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25362786151152</c:v>
                </c:pt>
                <c:pt idx="1">
                  <c:v>0.745975059745848</c:v>
                </c:pt>
                <c:pt idx="2">
                  <c:v>0.695485734478867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4637213848848</c:v>
                </c:pt>
                <c:pt idx="1">
                  <c:v>0.254024940254152</c:v>
                </c:pt>
                <c:pt idx="2">
                  <c:v>0.3045142655211325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602100494847203</c:v>
                </c:pt>
                <c:pt idx="1">
                  <c:v>0.7814534925922043</c:v>
                </c:pt>
                <c:pt idx="2">
                  <c:v>0.720277952783709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97899505152797</c:v>
                </c:pt>
                <c:pt idx="1">
                  <c:v>0.21854650740779574</c:v>
                </c:pt>
                <c:pt idx="2">
                  <c:v>0.27972204721629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84604963854084</c:v>
                </c:pt>
                <c:pt idx="1">
                  <c:v>0.5632784772458401</c:v>
                </c:pt>
                <c:pt idx="2">
                  <c:v>0.4626052928141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71174857320983</c:v>
                </c:pt>
                <c:pt idx="1">
                  <c:v>0.06455796729717544</c:v>
                </c:pt>
                <c:pt idx="2">
                  <c:v>0.0277578456074824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6682775504138176</c:v>
                </c:pt>
                <c:pt idx="1">
                  <c:v>0.37216355545698443</c:v>
                </c:pt>
                <c:pt idx="2">
                  <c:v>0.50963686157834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17990342847149</c:v>
                </c:pt>
                <c:pt idx="1">
                  <c:v>0.6508822207913313</c:v>
                </c:pt>
                <c:pt idx="2">
                  <c:v>0.545271016417566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056168255330134</c:v>
                </c:pt>
                <c:pt idx="1">
                  <c:v>0.05345771516840359</c:v>
                </c:pt>
                <c:pt idx="2">
                  <c:v>0.020835073740184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84144797459955</c:v>
                </c:pt>
                <c:pt idx="1">
                  <c:v>0.2956600640402651</c:v>
                </c:pt>
                <c:pt idx="2">
                  <c:v>0.433893909842248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3432258233848407</c:v>
                </c:pt>
                <c:pt idx="1">
                  <c:v>0.12362168309582286</c:v>
                </c:pt>
                <c:pt idx="2">
                  <c:v>0.128001887963718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7%</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8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65677417661516</c:v>
                </c:pt>
                <c:pt idx="1">
                  <c:v>0.876378316904177</c:v>
                </c:pt>
                <c:pt idx="2">
                  <c:v>0.8719981120362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2369485322707904</c:v>
                </c:pt>
                <c:pt idx="1">
                  <c:v>0.11011621183534968</c:v>
                </c:pt>
                <c:pt idx="2">
                  <c:v>0.10997922119977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876305146772921</c:v>
                </c:pt>
                <c:pt idx="1">
                  <c:v>0.8898837881646503</c:v>
                </c:pt>
                <c:pt idx="2">
                  <c:v>0.89002077880022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70451733039442</c:v>
                </c:pt>
                <c:pt idx="1">
                  <c:v>0.4622743690596765</c:v>
                </c:pt>
                <c:pt idx="2">
                  <c:v>0.445825187132355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8%</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00637650737233</c:v>
                </c:pt>
                <c:pt idx="1">
                  <c:v>0.47616496399457514</c:v>
                </c:pt>
                <c:pt idx="2">
                  <c:v>0.4636841634520975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8349259200355626</c:v>
                </c:pt>
                <c:pt idx="1">
                  <c:v>0.019313886562802165</c:v>
                </c:pt>
                <c:pt idx="2">
                  <c:v>0.0196053847203616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454180242197687</c:v>
                </c:pt>
                <c:pt idx="1">
                  <c:v>0.04224678038294618</c:v>
                </c:pt>
                <c:pt idx="2">
                  <c:v>0.0708852646951848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59.4</a:t>
                    </a:r>
                  </a:p>
                </c:rich>
              </c:tx>
              <c:showLegendKey val="0"/>
              <c:showVal val="1"/>
              <c:showCatName val="0"/>
              <c:showSerName val="0"/>
              <c:showPercent val="0"/>
              <c:showBubbleSize val="0"/>
            </c:dLbl>
            <c:dLbl>
              <c:idx val="1"/>
              <c:tx>
                <c:rich>
                  <a:bodyPr/>
                  <a:lstStyle/>
                  <a:p>
                    <a:r>
                      <a:rPr>
                        <a:solidFill>
                          <a:srgbClr val="FFFFFF"/>
                        </a:solidFill>
                      </a:rPr>
                      <a:t>179.1</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9.379751</c:v>
                </c:pt>
                <c:pt idx="1">
                  <c:v>179.059334</c:v>
                </c:pt>
                <c:pt idx="2">
                  <c:v>114.2233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a:solidFill>
                          <a:srgbClr val="FFFFFF"/>
                        </a:solidFill>
                      </a:rPr>
                      <a:t>115.6</a:t>
                    </a:r>
                  </a:p>
                </c:rich>
              </c:tx>
              <c:showLegendKey val="0"/>
              <c:showVal val="1"/>
              <c:showCatName val="0"/>
              <c:showSerName val="0"/>
              <c:showPercent val="0"/>
              <c:showBubbleSize val="0"/>
            </c:dLbl>
            <c:dLbl>
              <c:idx val="1"/>
              <c:tx>
                <c:rich>
                  <a:bodyPr/>
                  <a:lstStyle/>
                  <a:p>
                    <a:r>
                      <a:rPr>
                        <a:solidFill>
                          <a:srgbClr val="FFFFFF"/>
                        </a:solidFill>
                      </a:rPr>
                      <a:t>116.1</a:t>
                    </a:r>
                  </a:p>
                </c:rich>
              </c:tx>
              <c:showLegendKey val="0"/>
              <c:showVal val="1"/>
              <c:showCatName val="0"/>
              <c:showSerName val="0"/>
              <c:showPercent val="0"/>
              <c:showBubbleSize val="0"/>
            </c:dLbl>
            <c:dLbl>
              <c:idx val="2"/>
              <c:tx>
                <c:rich>
                  <a:bodyPr/>
                  <a:lstStyle/>
                  <a:p>
                    <a:r>
                      <a:rPr>
                        <a:solidFill>
                          <a:srgbClr val="FFFFFF"/>
                        </a:solidFill>
                      </a:rPr>
                      <a:t>7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5.564575</c:v>
                </c:pt>
                <c:pt idx="1">
                  <c:v>116.095834</c:v>
                </c:pt>
                <c:pt idx="2">
                  <c:v>70.63712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a:solidFill>
                          <a:srgbClr val="FFFFFF"/>
                        </a:solidFill>
                      </a:rPr>
                      <a:t>74.7</a:t>
                    </a:r>
                  </a:p>
                </c:rich>
              </c:tx>
              <c:showLegendKey val="0"/>
              <c:showVal val="1"/>
              <c:showCatName val="0"/>
              <c:showSerName val="0"/>
              <c:showPercent val="0"/>
              <c:showBubbleSize val="0"/>
            </c:dLbl>
            <c:dLbl>
              <c:idx val="1"/>
              <c:tx>
                <c:rich>
                  <a:bodyPr/>
                  <a:lstStyle/>
                  <a:p>
                    <a:r>
                      <a:rPr>
                        <a:solidFill>
                          <a:srgbClr val="FFFFFF"/>
                        </a:solidFill>
                      </a:rPr>
                      <a:t>81.6</a:t>
                    </a:r>
                  </a:p>
                </c:rich>
              </c:tx>
              <c:showLegendKey val="0"/>
              <c:showVal val="1"/>
              <c:showCatName val="0"/>
              <c:showSerName val="0"/>
              <c:showPercent val="0"/>
              <c:showBubbleSize val="0"/>
            </c:dLbl>
            <c:dLbl>
              <c:idx val="2"/>
              <c:tx>
                <c:rich>
                  <a:bodyPr/>
                  <a:lstStyle/>
                  <a:p>
                    <a:r>
                      <a:rPr>
                        <a:solidFill>
                          <a:srgbClr val="FFFFFF"/>
                        </a:solidFill>
                      </a:rPr>
                      <a:t>5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4.705641</c:v>
                </c:pt>
                <c:pt idx="1">
                  <c:v>81.552757</c:v>
                </c:pt>
                <c:pt idx="2">
                  <c:v>55.84713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62.9</a:t>
                    </a:r>
                  </a:p>
                </c:rich>
              </c:tx>
              <c:showLegendKey val="0"/>
              <c:showVal val="1"/>
              <c:showCatName val="0"/>
              <c:showSerName val="0"/>
              <c:showPercent val="0"/>
              <c:showBubbleSize val="0"/>
            </c:dLbl>
            <c:dLbl>
              <c:idx val="1"/>
              <c:tx>
                <c:rich>
                  <a:bodyPr/>
                  <a:lstStyle/>
                  <a:p>
                    <a:r>
                      <a:rPr>
                        <a:solidFill>
                          <a:srgbClr val="FFFFFF"/>
                        </a:solidFill>
                      </a:rPr>
                      <a:t>71.4</a:t>
                    </a:r>
                  </a:p>
                </c:rich>
              </c:tx>
              <c:showLegendKey val="0"/>
              <c:showVal val="1"/>
              <c:showCatName val="0"/>
              <c:showSerName val="0"/>
              <c:showPercent val="0"/>
              <c:showBubbleSize val="0"/>
            </c:dLbl>
            <c:dLbl>
              <c:idx val="2"/>
              <c:tx>
                <c:rich>
                  <a:bodyPr/>
                  <a:lstStyle/>
                  <a:p>
                    <a:r>
                      <a:rPr>
                        <a:solidFill>
                          <a:srgbClr val="FFFFFF"/>
                        </a:solidFill>
                      </a:rPr>
                      <a:t>4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2.943618</c:v>
                </c:pt>
                <c:pt idx="1">
                  <c:v>71.352288</c:v>
                </c:pt>
                <c:pt idx="2">
                  <c:v>43.96244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33.8</a:t>
                    </a:r>
                  </a:p>
                </c:rich>
              </c:tx>
              <c:showLegendKey val="0"/>
              <c:showVal val="1"/>
              <c:showCatName val="0"/>
              <c:showSerName val="0"/>
              <c:showPercent val="0"/>
              <c:showBubbleSize val="0"/>
            </c:dLbl>
            <c:dLbl>
              <c:idx val="1"/>
              <c:tx>
                <c:rich>
                  <a:bodyPr/>
                  <a:lstStyle/>
                  <a:p>
                    <a:r>
                      <a:rPr>
                        <a:solidFill>
                          <a:srgbClr val="FFFFFF"/>
                        </a:solidFill>
                      </a:rPr>
                      <a:t>34.2</a:t>
                    </a:r>
                  </a:p>
                </c:rich>
              </c:tx>
              <c:showLegendKey val="0"/>
              <c:showVal val="1"/>
              <c:showCatName val="0"/>
              <c:showSerName val="0"/>
              <c:showPercent val="0"/>
              <c:showBubbleSize val="0"/>
            </c:dLbl>
            <c:dLbl>
              <c:idx val="2"/>
              <c:tx>
                <c:rich>
                  <a:bodyPr/>
                  <a:lstStyle/>
                  <a:p>
                    <a:r>
                      <a:rPr>
                        <a:solidFill>
                          <a:srgbClr val="FFFFFF"/>
                        </a:solidFill>
                      </a:rPr>
                      <a:t>1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3.811178</c:v>
                </c:pt>
                <c:pt idx="1">
                  <c:v>34.183557</c:v>
                </c:pt>
                <c:pt idx="2">
                  <c:v>19.23564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7.5</a:t>
                    </a:r>
                  </a:p>
                </c:rich>
              </c:tx>
              <c:showLegendKey val="0"/>
              <c:showVal val="1"/>
              <c:showCatName val="0"/>
              <c:showSerName val="0"/>
              <c:showPercent val="0"/>
              <c:showBubbleSize val="0"/>
            </c:dLbl>
            <c:dLbl>
              <c:idx val="1"/>
              <c:tx>
                <c:rich>
                  <a:bodyPr/>
                  <a:lstStyle/>
                  <a:p>
                    <a:r>
                      <a:rPr>
                        <a:solidFill>
                          <a:srgbClr val="FFFFFF"/>
                        </a:solidFill>
                      </a:rPr>
                      <a:t>55.3</a:t>
                    </a:r>
                  </a:p>
                </c:rich>
              </c:tx>
              <c:showLegendKey val="0"/>
              <c:showVal val="1"/>
              <c:showCatName val="0"/>
              <c:showSerName val="0"/>
              <c:showPercent val="0"/>
              <c:showBubbleSize val="0"/>
            </c:dLbl>
            <c:dLbl>
              <c:idx val="2"/>
              <c:tx>
                <c:rich>
                  <a:bodyPr/>
                  <a:lstStyle/>
                  <a:p>
                    <a:r>
                      <a:rPr>
                        <a:solidFill>
                          <a:srgbClr val="FFFFFF"/>
                        </a:solidFill>
                      </a:rPr>
                      <a:t>4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7.48301</c:v>
                </c:pt>
                <c:pt idx="1">
                  <c:v>55.319742</c:v>
                </c:pt>
                <c:pt idx="2">
                  <c:v>41.2162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67232245199491</c:v>
                </c:pt>
                <c:pt idx="1">
                  <c:v>0.5499543732667406</c:v>
                </c:pt>
                <c:pt idx="2">
                  <c:v>0.52673729529390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21116863592142</c:v>
                </c:pt>
                <c:pt idx="1">
                  <c:v>0.4114799086575057</c:v>
                </c:pt>
                <c:pt idx="2">
                  <c:v>0.409766654051777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9789353919388995</c:v>
                </c:pt>
                <c:pt idx="1">
                  <c:v>0.013540901584249207</c:v>
                </c:pt>
                <c:pt idx="2">
                  <c:v>0.0136447366770905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137573520144781</c:v>
                </c:pt>
                <c:pt idx="1">
                  <c:v>0.025024816491504523</c:v>
                </c:pt>
                <c:pt idx="2">
                  <c:v>0.0498513139772238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1%</a:t>
                    </a:r>
                  </a:p>
                </c:rich>
              </c:tx>
              <c:showLegendKey val="0"/>
              <c:showVal val="1"/>
              <c:showCatName val="0"/>
              <c:showSerName val="0"/>
              <c:showPercent val="0"/>
              <c:showBubbleSize val="0"/>
            </c:dLbl>
            <c:dLbl>
              <c:idx val="1"/>
              <c:tx>
                <c:rich>
                  <a:bodyPr/>
                  <a:lstStyle/>
                  <a:p>
                    <a:r>
                      <a:rPr sz="800">
                        <a:solidFill>
                          <a:srgbClr val="FFFFFF"/>
                        </a:solidFill>
                        <a:latin typeface="Nexa Book"/>
                      </a:rPr>
                      <a:t>71%</a:t>
                    </a:r>
                  </a:p>
                </c:rich>
              </c:tx>
              <c:showLegendKey val="0"/>
              <c:showVal val="1"/>
              <c:showCatName val="0"/>
              <c:showSerName val="0"/>
              <c:showPercent val="0"/>
              <c:showBubbleSize val="0"/>
            </c:dLbl>
            <c:dLbl>
              <c:idx val="2"/>
              <c:tx>
                <c:rich>
                  <a:bodyPr/>
                  <a:lstStyle/>
                  <a:p>
                    <a:r>
                      <a:rPr sz="800">
                        <a:solidFill>
                          <a:srgbClr val="FFFFFF"/>
                        </a:solidFill>
                        <a:latin typeface="Nexa Book"/>
                      </a:rPr>
                      <a:t>7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107743111049288</c:v>
                </c:pt>
                <c:pt idx="1">
                  <c:v>0.7129287989338677</c:v>
                </c:pt>
                <c:pt idx="2">
                  <c:v>0.716857663193114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244763212892554</c:v>
                </c:pt>
                <c:pt idx="1">
                  <c:v>0.18553130066392304</c:v>
                </c:pt>
                <c:pt idx="2">
                  <c:v>0.175006270115285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7780567661456</c:v>
                </c:pt>
                <c:pt idx="1">
                  <c:v>0.10153990040220923</c:v>
                </c:pt>
                <c:pt idx="2">
                  <c:v>0.108136066691600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88869002693202</c:v>
                </c:pt>
                <c:pt idx="1">
                  <c:v>0.6506714271131302</c:v>
                </c:pt>
                <c:pt idx="2">
                  <c:v>0.661973590580429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247817933503744</c:v>
                </c:pt>
                <c:pt idx="1">
                  <c:v>0.2870903703298211</c:v>
                </c:pt>
                <c:pt idx="2">
                  <c:v>0.27444989949168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863492039564241</c:v>
                </c:pt>
                <c:pt idx="1">
                  <c:v>0.062238202557048664</c:v>
                </c:pt>
                <c:pt idx="2">
                  <c:v>0.063576509927888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8%</a:t>
                    </a:r>
                  </a:p>
                </c:rich>
              </c:tx>
              <c:showLegendKey val="0"/>
              <c:showVal val="1"/>
              <c:showCatName val="0"/>
              <c:showSerName val="0"/>
              <c:showPercent val="0"/>
              <c:showBubbleSize val="0"/>
            </c:dLbl>
            <c:dLbl>
              <c:idx val="1"/>
              <c:tx>
                <c:rich>
                  <a:bodyPr/>
                  <a:lstStyle/>
                  <a:p>
                    <a:r>
                      <a:rPr sz="800">
                        <a:solidFill>
                          <a:srgbClr val="FFFFFF"/>
                        </a:solidFill>
                        <a:latin typeface="Nexa Book"/>
                      </a:rPr>
                      <a:t>79%</a:t>
                    </a:r>
                  </a:p>
                </c:rich>
              </c:tx>
              <c:showLegendKey val="0"/>
              <c:showVal val="1"/>
              <c:showCatName val="0"/>
              <c:showSerName val="0"/>
              <c:showPercent val="0"/>
              <c:showBubbleSize val="0"/>
            </c:dLbl>
            <c:dLbl>
              <c:idx val="2"/>
              <c:tx>
                <c:rich>
                  <a:bodyPr/>
                  <a:lstStyle/>
                  <a:p>
                    <a:r>
                      <a:rPr sz="800">
                        <a:solidFill>
                          <a:srgbClr val="FFFFFF"/>
                        </a:solidFill>
                        <a:latin typeface="Nexa Book"/>
                      </a:rPr>
                      <a:t>7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22086385318959</c:v>
                </c:pt>
                <c:pt idx="1">
                  <c:v>0.7874697574991839</c:v>
                </c:pt>
                <c:pt idx="2">
                  <c:v>0.778439531073515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779136146810404</c:v>
                </c:pt>
                <c:pt idx="1">
                  <c:v>0.2125302425008161</c:v>
                </c:pt>
                <c:pt idx="2">
                  <c:v>0.221560468926484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846363491097039</c:v>
                </c:pt>
                <c:pt idx="1">
                  <c:v>0.7917445713724673</c:v>
                </c:pt>
                <c:pt idx="2">
                  <c:v>0.78283128233615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536365089029608</c:v>
                </c:pt>
                <c:pt idx="1">
                  <c:v>0.20825542862753266</c:v>
                </c:pt>
                <c:pt idx="2">
                  <c:v>0.21716871766384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5%</a:t>
                    </a:r>
                  </a:p>
                </c:rich>
              </c:tx>
              <c:showLegendKey val="0"/>
              <c:showVal val="1"/>
              <c:showCatName val="0"/>
              <c:showSerName val="0"/>
              <c:showPercent val="0"/>
              <c:showBubbleSize val="0"/>
            </c:dLbl>
            <c:dLbl>
              <c:idx val="1"/>
              <c:tx>
                <c:rich>
                  <a:bodyPr/>
                  <a:lstStyle/>
                  <a:p>
                    <a:r>
                      <a:rPr sz="800">
                        <a:solidFill>
                          <a:srgbClr val="FFFFFF"/>
                        </a:solidFill>
                        <a:latin typeface="Nexa Book"/>
                      </a:rPr>
                      <a:t>76%</a:t>
                    </a:r>
                  </a:p>
                </c:rich>
              </c:tx>
              <c:showLegendKey val="0"/>
              <c:showVal val="1"/>
              <c:showCatName val="0"/>
              <c:showSerName val="0"/>
              <c:showPercent val="0"/>
              <c:showBubbleSize val="0"/>
            </c:dLbl>
            <c:dLbl>
              <c:idx val="2"/>
              <c:tx>
                <c:rich>
                  <a:bodyPr/>
                  <a:lstStyle/>
                  <a:p>
                    <a:r>
                      <a:rPr sz="800">
                        <a:solidFill>
                          <a:srgbClr val="FFFFFF"/>
                        </a:solidFill>
                        <a:latin typeface="Nexa Book"/>
                      </a:rPr>
                      <a:t>7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462876802983811</c:v>
                </c:pt>
                <c:pt idx="1">
                  <c:v>0.7574360559922302</c:v>
                </c:pt>
                <c:pt idx="2">
                  <c:v>0.76475281437457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5371231970161895</c:v>
                </c:pt>
                <c:pt idx="1">
                  <c:v>0.24256394400776982</c:v>
                </c:pt>
                <c:pt idx="2">
                  <c:v>0.235247185625427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7028946651162993</c:v>
                </c:pt>
                <c:pt idx="1">
                  <c:v>0.7164413363913125</c:v>
                </c:pt>
                <c:pt idx="2">
                  <c:v>0.728030204982748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710533488370067</c:v>
                </c:pt>
                <c:pt idx="1">
                  <c:v>0.2835586636086876</c:v>
                </c:pt>
                <c:pt idx="2">
                  <c:v>0.271969795017251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2177706353309</c:v>
                </c:pt>
                <c:pt idx="1">
                  <c:v>0.46106074117164375</c:v>
                </c:pt>
                <c:pt idx="2">
                  <c:v>0.47941468454784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56487596286197</c:v>
                </c:pt>
                <c:pt idx="1">
                  <c:v>0.21810596739073007</c:v>
                </c:pt>
                <c:pt idx="2">
                  <c:v>0.195523986728682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381648387682295</c:v>
                </c:pt>
                <c:pt idx="1">
                  <c:v>0.12294629790745812</c:v>
                </c:pt>
                <c:pt idx="2">
                  <c:v>0.1064656710959204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644093380700608</c:v>
                </c:pt>
                <c:pt idx="1">
                  <c:v>0.19788699353016803</c:v>
                </c:pt>
                <c:pt idx="2">
                  <c:v>0.218595657627552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37318967672853</c:v>
                </c:pt>
                <c:pt idx="1">
                  <c:v>0.4016125621684423</c:v>
                </c:pt>
                <c:pt idx="2">
                  <c:v>0.424364263305349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82048537343988</c:v>
                </c:pt>
                <c:pt idx="1">
                  <c:v>0.31599883533448603</c:v>
                </c:pt>
                <c:pt idx="2">
                  <c:v>0.285829482502456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514944158169353</c:v>
                </c:pt>
                <c:pt idx="1">
                  <c:v>0.09246851942171705</c:v>
                </c:pt>
                <c:pt idx="2">
                  <c:v>0.0785585900782507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29138079166224</c:v>
                </c:pt>
                <c:pt idx="1">
                  <c:v>0.18992008307535466</c:v>
                </c:pt>
                <c:pt idx="2">
                  <c:v>0.2112476641139438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7%</a:t>
                    </a:r>
                  </a:p>
                </c:rich>
              </c:tx>
              <c:showLegendKey val="0"/>
              <c:showVal val="1"/>
              <c:showCatName val="0"/>
              <c:showSerName val="0"/>
              <c:showPercent val="0"/>
              <c:showBubbleSize val="0"/>
            </c:dLbl>
            <c:dLbl>
              <c:idx val="2"/>
              <c:tx>
                <c:rich>
                  <a:bodyPr/>
                  <a:lstStyle/>
                  <a:p>
                    <a:r>
                      <a:rPr sz="800">
                        <a:solidFill>
                          <a:srgbClr val="FFFFFF"/>
                        </a:solidFill>
                        <a:latin typeface="Nexa Book"/>
                      </a:rPr>
                      <a:t>4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0953457198919</c:v>
                </c:pt>
                <c:pt idx="1">
                  <c:v>0.46921436489006135</c:v>
                </c:pt>
                <c:pt idx="2">
                  <c:v>0.4803015115799516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55555016448562</c:v>
                </c:pt>
                <c:pt idx="1">
                  <c:v>0.1644330242300767</c:v>
                </c:pt>
                <c:pt idx="2">
                  <c:v>0.135448628179144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3%</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800574007602333</c:v>
                </c:pt>
                <c:pt idx="1">
                  <c:v>0.1267413681854207</c:v>
                </c:pt>
                <c:pt idx="2">
                  <c:v>0.120610852430582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4%</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3534341255922858</c:v>
                </c:pt>
                <c:pt idx="1">
                  <c:v>0.23961124269444128</c:v>
                </c:pt>
                <c:pt idx="2">
                  <c:v>0.263639007810321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8</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090538</c:v>
                </c:pt>
                <c:pt idx="1">
                  <c:v>7.827996</c:v>
                </c:pt>
                <c:pt idx="2">
                  <c:v>4.26120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663803</c:v>
                </c:pt>
                <c:pt idx="1">
                  <c:v>2.486268</c:v>
                </c:pt>
                <c:pt idx="2">
                  <c:v>1.6088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55981761962974</c:v>
                </c:pt>
                <c:pt idx="1">
                  <c:v>0.42286214896335084</c:v>
                </c:pt>
                <c:pt idx="2">
                  <c:v>0.437611032130489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911050458439812</c:v>
                </c:pt>
                <c:pt idx="1">
                  <c:v>0.23615066170908042</c:v>
                </c:pt>
                <c:pt idx="2">
                  <c:v>0.196614395263020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495624409697733</c:v>
                </c:pt>
                <c:pt idx="1">
                  <c:v>0.09999534235939267</c:v>
                </c:pt>
                <c:pt idx="2">
                  <c:v>0.0931907380781827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403350751223271</c:v>
                </c:pt>
                <c:pt idx="1">
                  <c:v>0.24099184696817605</c:v>
                </c:pt>
                <c:pt idx="2">
                  <c:v>0.2725838345283072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4%</a:t>
                    </a:r>
                  </a:p>
                </c:rich>
              </c:tx>
              <c:showLegendKey val="0"/>
              <c:showVal val="1"/>
              <c:showCatName val="0"/>
              <c:showSerName val="0"/>
              <c:showPercent val="0"/>
              <c:showBubbleSize val="0"/>
            </c:dLbl>
            <c:dLbl>
              <c:idx val="1"/>
              <c:tx>
                <c:rich>
                  <a:bodyPr/>
                  <a:lstStyle/>
                  <a:p>
                    <a:r>
                      <a:rPr sz="800">
                        <a:solidFill>
                          <a:srgbClr val="FFFFFF"/>
                        </a:solidFill>
                        <a:latin typeface="Nexa Book"/>
                      </a:rPr>
                      <a:t>50%</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29838963560175</c:v>
                </c:pt>
                <c:pt idx="1">
                  <c:v>0.49979612776101406</c:v>
                </c:pt>
                <c:pt idx="2">
                  <c:v>0.532543507227115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953816894902735</c:v>
                </c:pt>
                <c:pt idx="1">
                  <c:v>0.1779503817170678</c:v>
                </c:pt>
                <c:pt idx="2">
                  <c:v>0.1454978028809706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833207844980426</c:v>
                </c:pt>
                <c:pt idx="1">
                  <c:v>0.1643298572582587</c:v>
                </c:pt>
                <c:pt idx="2">
                  <c:v>0.145773493260139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914585624515085</c:v>
                </c:pt>
                <c:pt idx="1">
                  <c:v>0.15792363326365944</c:v>
                </c:pt>
                <c:pt idx="2">
                  <c:v>0.176185196631774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733081633577463</c:v>
                </c:pt>
                <c:pt idx="1">
                  <c:v>0.4513636527122969</c:v>
                </c:pt>
                <c:pt idx="2">
                  <c:v>0.4897462655041961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544340525120391</c:v>
                </c:pt>
                <c:pt idx="1">
                  <c:v>0.2615827615931238</c:v>
                </c:pt>
                <c:pt idx="2">
                  <c:v>0.21569418855361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679416585066647</c:v>
                </c:pt>
                <c:pt idx="1">
                  <c:v>0.1287319661663681</c:v>
                </c:pt>
                <c:pt idx="2">
                  <c:v>0.1122433743153685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3144096530151977</c:v>
                </c:pt>
                <c:pt idx="1">
                  <c:v>0.1583216195282112</c:v>
                </c:pt>
                <c:pt idx="2">
                  <c:v>0.182316171626824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82987776901738</c:v>
                </c:pt>
                <c:pt idx="1">
                  <c:v>0.6072962305084845</c:v>
                </c:pt>
                <c:pt idx="2">
                  <c:v>0.599788751088933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953522033661696</c:v>
                </c:pt>
                <c:pt idx="1">
                  <c:v>0.1950566680838647</c:v>
                </c:pt>
                <c:pt idx="2">
                  <c:v>0.1917464110206675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95928777751904</c:v>
                </c:pt>
                <c:pt idx="1">
                  <c:v>0.013735603378997959</c:v>
                </c:pt>
                <c:pt idx="2">
                  <c:v>0.01052784040557233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9%</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720671419569018</c:v>
                </c:pt>
                <c:pt idx="1">
                  <c:v>0.18391149802865286</c:v>
                </c:pt>
                <c:pt idx="2">
                  <c:v>0.197936997484826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06237654799243</c:v>
                </c:pt>
                <c:pt idx="1">
                  <c:v>0.6660528219147825</c:v>
                </c:pt>
                <c:pt idx="2">
                  <c:v>0.661705757027960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27795434522162</c:v>
                </c:pt>
                <c:pt idx="1">
                  <c:v>0.1861636603994367</c:v>
                </c:pt>
                <c:pt idx="2">
                  <c:v>0.1827111916335459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22607208522111</c:v>
                </c:pt>
                <c:pt idx="1">
                  <c:v>0.009077917753009073</c:v>
                </c:pt>
                <c:pt idx="2">
                  <c:v>0.00693624595068926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42475672966332</c:v>
                </c:pt>
                <c:pt idx="1">
                  <c:v>0.1387055999327717</c:v>
                </c:pt>
                <c:pt idx="2">
                  <c:v>0.148646805387803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05000900468373</c:v>
                </c:pt>
                <c:pt idx="1">
                  <c:v>0.5901673086199049</c:v>
                </c:pt>
                <c:pt idx="2">
                  <c:v>0.56162377734150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957985320919605</c:v>
                </c:pt>
                <c:pt idx="1">
                  <c:v>0.18119175950259073</c:v>
                </c:pt>
                <c:pt idx="2">
                  <c:v>0.17926048630295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9184320246054598</c:v>
                </c:pt>
                <c:pt idx="1">
                  <c:v>0.018373422535976028</c:v>
                </c:pt>
                <c:pt idx="2">
                  <c:v>0.0160753758356761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073573649791205</c:v>
                </c:pt>
                <c:pt idx="1">
                  <c:v>0.21026750934152832</c:v>
                </c:pt>
                <c:pt idx="2">
                  <c:v>0.243040360519860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58229066055372</c:v>
                </c:pt>
                <c:pt idx="1">
                  <c:v>0.6396453143011984</c:v>
                </c:pt>
                <c:pt idx="2">
                  <c:v>0.614415290716956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47689933965615</c:v>
                </c:pt>
                <c:pt idx="1">
                  <c:v>0.1843131120299007</c:v>
                </c:pt>
                <c:pt idx="2">
                  <c:v>0.1835040298728713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956158160194462</c:v>
                </c:pt>
                <c:pt idx="1">
                  <c:v>0.01256409294875969</c:v>
                </c:pt>
                <c:pt idx="2">
                  <c:v>0.01163323604549078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5645194183770686</c:v>
                </c:pt>
                <c:pt idx="1">
                  <c:v>0.16347748072014123</c:v>
                </c:pt>
                <c:pt idx="2">
                  <c:v>0.1904474433646817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00792269982281</c:v>
                </c:pt>
                <c:pt idx="1">
                  <c:v>0.5917391673787604</c:v>
                </c:pt>
                <c:pt idx="2">
                  <c:v>0.55355861334037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68162066956032</c:v>
                </c:pt>
                <c:pt idx="1">
                  <c:v>0.2696578882619945</c:v>
                </c:pt>
                <c:pt idx="2">
                  <c:v>0.283921988132686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812661019123336</c:v>
                </c:pt>
                <c:pt idx="1">
                  <c:v>0.017953003955699084</c:v>
                </c:pt>
                <c:pt idx="2">
                  <c:v>0.01304361906246254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0429190528704532</c:v>
                </c:pt>
                <c:pt idx="1">
                  <c:v>0.12064994040354604</c:v>
                </c:pt>
                <c:pt idx="2">
                  <c:v>0.149475779464474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661085426957</c:v>
                </c:pt>
                <c:pt idx="1">
                  <c:v>0.6527891958431875</c:v>
                </c:pt>
                <c:pt idx="2">
                  <c:v>0.63076842011556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409997322348706</c:v>
                </c:pt>
                <c:pt idx="1">
                  <c:v>0.2516049363284829</c:v>
                </c:pt>
                <c:pt idx="2">
                  <c:v>0.258573600823023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1068407568168952</c:v>
                </c:pt>
                <c:pt idx="1">
                  <c:v>0.010862990715260869</c:v>
                </c:pt>
                <c:pt idx="2">
                  <c:v>0.0078418732945310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59655106656483</c:v>
                </c:pt>
                <c:pt idx="1">
                  <c:v>0.08474287711306873</c:v>
                </c:pt>
                <c:pt idx="2">
                  <c:v>0.1028161057668851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168870410662</c:v>
                </c:pt>
                <c:pt idx="1">
                  <c:v>0.4900373604234909</c:v>
                </c:pt>
                <c:pt idx="2">
                  <c:v>0.405656398685136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130298520071021</c:v>
                </c:pt>
                <c:pt idx="1">
                  <c:v>0.06048955875137322</c:v>
                </c:pt>
                <c:pt idx="2">
                  <c:v>0.055432222647483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270703317353796</c:v>
                </c:pt>
                <c:pt idx="1">
                  <c:v>0.032602526920669984</c:v>
                </c:pt>
                <c:pt idx="2">
                  <c:v>0.01315363627985276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4265767556377146</c:v>
                </c:pt>
                <c:pt idx="1">
                  <c:v>0.022493739148486708</c:v>
                </c:pt>
                <c:pt idx="2">
                  <c:v>0.0356152466887146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728352118751649</c:v>
                </c:pt>
                <c:pt idx="1">
                  <c:v>0.017746803570915813</c:v>
                </c:pt>
                <c:pt idx="2">
                  <c:v>0.036632021180760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136501773292426</c:v>
                </c:pt>
                <c:pt idx="1">
                  <c:v>0.0179490052019378</c:v>
                </c:pt>
                <c:pt idx="2">
                  <c:v>0.03309144824956788</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39199961687051</c:v>
                </c:pt>
                <c:pt idx="1">
                  <c:v>0.014807986618210131</c:v>
                </c:pt>
                <c:pt idx="2">
                  <c:v>0.02626611530886819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33891190378226</c:v>
                </c:pt>
                <c:pt idx="1">
                  <c:v>0.010950260407494618</c:v>
                </c:pt>
                <c:pt idx="2">
                  <c:v>0.0209742237726765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0979192027761367</c:v>
                </c:pt>
                <c:pt idx="1">
                  <c:v>0.010574913759963634</c:v>
                </c:pt>
                <c:pt idx="2">
                  <c:v>0.01714168973610037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98972205976551</c:v>
                </c:pt>
                <c:pt idx="1">
                  <c:v>0.3223478451974572</c:v>
                </c:pt>
                <c:pt idx="2">
                  <c:v>0.356036997450839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146.0</a:t>
                    </a:r>
                  </a:p>
                </c:rich>
              </c:tx>
              <c:showLegendKey val="0"/>
              <c:showVal val="1"/>
              <c:showCatName val="0"/>
              <c:showSerName val="0"/>
              <c:showPercent val="0"/>
              <c:showBubbleSize val="0"/>
            </c:dLbl>
            <c:dLbl>
              <c:idx val="1"/>
              <c:tx>
                <c:rich>
                  <a:bodyPr/>
                  <a:lstStyle/>
                  <a:p>
                    <a:r>
                      <a:rPr>
                        <a:solidFill>
                          <a:srgbClr val="FFFFFF"/>
                        </a:solidFill>
                      </a:rPr>
                      <a:t>141.6</a:t>
                    </a:r>
                  </a:p>
                </c:rich>
              </c:tx>
              <c:showLegendKey val="0"/>
              <c:showVal val="1"/>
              <c:showCatName val="0"/>
              <c:showSerName val="0"/>
              <c:showPercent val="0"/>
              <c:showBubbleSize val="0"/>
            </c:dLbl>
            <c:dLbl>
              <c:idx val="2"/>
              <c:tx>
                <c:rich>
                  <a:bodyPr/>
                  <a:lstStyle/>
                  <a:p>
                    <a:r>
                      <a:rPr>
                        <a:solidFill>
                          <a:srgbClr val="FFFFFF"/>
                        </a:solidFill>
                      </a:rPr>
                      <a:t>7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6.020788</c:v>
                </c:pt>
                <c:pt idx="1">
                  <c:v>141.605231</c:v>
                </c:pt>
                <c:pt idx="2">
                  <c:v>78.08975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63.2</a:t>
                    </a:r>
                  </a:p>
                </c:rich>
              </c:tx>
              <c:showLegendKey val="0"/>
              <c:showVal val="1"/>
              <c:showCatName val="0"/>
              <c:showSerName val="0"/>
              <c:showPercent val="0"/>
              <c:showBubbleSize val="0"/>
            </c:dLbl>
            <c:dLbl>
              <c:idx val="1"/>
              <c:tx>
                <c:rich>
                  <a:bodyPr/>
                  <a:lstStyle/>
                  <a:p>
                    <a:r>
                      <a:rPr>
                        <a:solidFill>
                          <a:srgbClr val="FFFFFF"/>
                        </a:solidFill>
                      </a:rPr>
                      <a:t>59.4</a:t>
                    </a:r>
                  </a:p>
                </c:rich>
              </c:tx>
              <c:showLegendKey val="0"/>
              <c:showVal val="1"/>
              <c:showCatName val="0"/>
              <c:showSerName val="0"/>
              <c:showPercent val="0"/>
              <c:showBubbleSize val="0"/>
            </c:dLbl>
            <c:dLbl>
              <c:idx val="2"/>
              <c:tx>
                <c:rich>
                  <a:bodyPr/>
                  <a:lstStyle/>
                  <a:p>
                    <a:r>
                      <a:rPr>
                        <a:solidFill>
                          <a:srgbClr val="FFFFFF"/>
                        </a:solidFill>
                      </a:rPr>
                      <a:t>3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3.175688</c:v>
                </c:pt>
                <c:pt idx="1">
                  <c:v>59.3946</c:v>
                </c:pt>
                <c:pt idx="2">
                  <c:v>37.1903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86403613274761</c:v>
                </c:pt>
                <c:pt idx="1">
                  <c:v>0.5592514370499746</c:v>
                </c:pt>
                <c:pt idx="2">
                  <c:v>0.47793785624128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633086344973345</c:v>
                </c:pt>
                <c:pt idx="1">
                  <c:v>0.065669572088873</c:v>
                </c:pt>
                <c:pt idx="2">
                  <c:v>0.066039814153851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5976961535907627</c:v>
                </c:pt>
                <c:pt idx="1">
                  <c:v>0.025298677514545353</c:v>
                </c:pt>
                <c:pt idx="2">
                  <c:v>0.01012104375267374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2016415050592715</c:v>
                </c:pt>
                <c:pt idx="1">
                  <c:v>0.020387525928189702</c:v>
                </c:pt>
                <c:pt idx="2">
                  <c:v>0.03332059888640008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4795588615276637</c:v>
                </c:pt>
                <c:pt idx="1">
                  <c:v>0.015336979716952323</c:v>
                </c:pt>
                <c:pt idx="2">
                  <c:v>0.03233321380620833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628388636815746</c:v>
                </c:pt>
                <c:pt idx="1">
                  <c:v>0.01570534142363448</c:v>
                </c:pt>
                <c:pt idx="2">
                  <c:v>0.02855280476901038</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5569776885413542</c:v>
                </c:pt>
                <c:pt idx="1">
                  <c:v>0.016823744357697883</c:v>
                </c:pt>
                <c:pt idx="2">
                  <c:v>0.0291622222985793</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9267545592964247</c:v>
                </c:pt>
                <c:pt idx="1">
                  <c:v>0.009559983995824887</c:v>
                </c:pt>
                <c:pt idx="2">
                  <c:v>0.01861552798925213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76105939961509435</c:v>
                </c:pt>
                <c:pt idx="1">
                  <c:v>0.007407457317859184</c:v>
                </c:pt>
                <c:pt idx="2">
                  <c:v>0.01155926045980494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350800717832735</c:v>
                </c:pt>
                <c:pt idx="1">
                  <c:v>0.26455928060644857</c:v>
                </c:pt>
                <c:pt idx="2">
                  <c:v>0.29235765764293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100091025334166</c:v>
                </c:pt>
                <c:pt idx="1">
                  <c:v>0.4533178041573793</c:v>
                </c:pt>
                <c:pt idx="2">
                  <c:v>0.33123563730385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00896795625738</c:v>
                </c:pt>
                <c:pt idx="1">
                  <c:v>0.06253689772503716</c:v>
                </c:pt>
                <c:pt idx="2">
                  <c:v>0.0492194810433479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21540094433698</c:v>
                </c:pt>
                <c:pt idx="1">
                  <c:v>0.03024053654262472</c:v>
                </c:pt>
                <c:pt idx="2">
                  <c:v>0.00204804283675545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399902859713136</c:v>
                </c:pt>
                <c:pt idx="1">
                  <c:v>0.022769533528959322</c:v>
                </c:pt>
                <c:pt idx="2">
                  <c:v>0.0411052764413627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019180444039476</c:v>
                </c:pt>
                <c:pt idx="1">
                  <c:v>0.021017413391635886</c:v>
                </c:pt>
                <c:pt idx="2">
                  <c:v>0.037410440426000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825340545315563</c:v>
                </c:pt>
                <c:pt idx="1">
                  <c:v>0.018514519684612374</c:v>
                </c:pt>
                <c:pt idx="2">
                  <c:v>0.0396902409718755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6896271715993085</c:v>
                </c:pt>
                <c:pt idx="1">
                  <c:v>0.017433558871550184</c:v>
                </c:pt>
                <c:pt idx="2">
                  <c:v>0.0393519624153891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453151050257143</c:v>
                </c:pt>
                <c:pt idx="1">
                  <c:v>0.013263305374028398</c:v>
                </c:pt>
                <c:pt idx="2">
                  <c:v>0.02860639953473223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1474282722774938</c:v>
                </c:pt>
                <c:pt idx="1">
                  <c:v>0.011195900798683267</c:v>
                </c:pt>
                <c:pt idx="2">
                  <c:v>0.02284581987083956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89962332751643</c:v>
                </c:pt>
                <c:pt idx="1">
                  <c:v>0.3497105299254894</c:v>
                </c:pt>
                <c:pt idx="2">
                  <c:v>0.408486699155841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021794372822281</c:v>
                </c:pt>
                <c:pt idx="1">
                  <c:v>0.5057575330773668</c:v>
                </c:pt>
                <c:pt idx="2">
                  <c:v>0.379129978345433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487803767841701</c:v>
                </c:pt>
                <c:pt idx="1">
                  <c:v>0.07299438348758394</c:v>
                </c:pt>
                <c:pt idx="2">
                  <c:v>0.0647239526007831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27404486977791697</c:v>
                </c:pt>
                <c:pt idx="1">
                  <c:v>0.025229695194464403</c:v>
                </c:pt>
                <c:pt idx="2">
                  <c:v>0.001704260114156657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2373712834775752</c:v>
                </c:pt>
                <c:pt idx="1">
                  <c:v>0.021014545881533613</c:v>
                </c:pt>
                <c:pt idx="2">
                  <c:v>0.03997650195583789</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6242375454036335</c:v>
                </c:pt>
                <c:pt idx="1">
                  <c:v>0.027401155037280113</c:v>
                </c:pt>
                <c:pt idx="2">
                  <c:v>0.0481490671460714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767156779883678</c:v>
                </c:pt>
                <c:pt idx="1">
                  <c:v>0.016592678587663157</c:v>
                </c:pt>
                <c:pt idx="2">
                  <c:v>0.035873556580358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135805404234834</c:v>
                </c:pt>
                <c:pt idx="1">
                  <c:v>0.015030327660430125</c:v>
                </c:pt>
                <c:pt idx="2">
                  <c:v>0.0351637020006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2598395481172142</c:v>
                </c:pt>
                <c:pt idx="1">
                  <c:v>0.013009664264045012</c:v>
                </c:pt>
                <c:pt idx="2">
                  <c:v>0.02855474493562226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8193676699199976</c:v>
                </c:pt>
                <c:pt idx="1">
                  <c:v>0.00797878540059464</c:v>
                </c:pt>
                <c:pt idx="2">
                  <c:v>0.0157926660811033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9422691540826046</c:v>
                </c:pt>
                <c:pt idx="1">
                  <c:v>0.29499123140903827</c:v>
                </c:pt>
                <c:pt idx="2">
                  <c:v>0.350931570240012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30311833611377</c:v>
                </c:pt>
                <c:pt idx="1">
                  <c:v>0.455828225508957</c:v>
                </c:pt>
                <c:pt idx="2">
                  <c:v>0.449069519129982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591794490819553</c:v>
                </c:pt>
                <c:pt idx="1">
                  <c:v>0.07655871835957007</c:v>
                </c:pt>
                <c:pt idx="2">
                  <c:v>0.0783845759898439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650465670320411</c:v>
                </c:pt>
                <c:pt idx="1">
                  <c:v>0.04749367738779361</c:v>
                </c:pt>
                <c:pt idx="2">
                  <c:v>0.04595587236760826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97687353500284</c:v>
                </c:pt>
                <c:pt idx="1">
                  <c:v>0.02756795929201666</c:v>
                </c:pt>
                <c:pt idx="2">
                  <c:v>0.02516478031117847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eerdamm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3983639172634998</c:v>
                </c:pt>
                <c:pt idx="1">
                  <c:v>0.02194873605279755</c:v>
                </c:pt>
                <c:pt idx="2">
                  <c:v>0.02142068280338497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073232223574836</c:v>
                </c:pt>
                <c:pt idx="1">
                  <c:v>0.019967397668045058</c:v>
                </c:pt>
                <c:pt idx="2">
                  <c:v>0.02604682206203610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280185191381857</c:v>
                </c:pt>
                <c:pt idx="1">
                  <c:v>0.015176127172409336</c:v>
                </c:pt>
                <c:pt idx="2">
                  <c:v>0.01648242125547381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366946832353847</c:v>
                </c:pt>
                <c:pt idx="1">
                  <c:v>0.015033636078988982</c:v>
                </c:pt>
                <c:pt idx="2">
                  <c:v>0.014317495314863399</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11256868162296</c:v>
                </c:pt>
                <c:pt idx="1">
                  <c:v>0.011807674881493509</c:v>
                </c:pt>
                <c:pt idx="2">
                  <c:v>0.01288821147207216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1994778944125907</c:v>
                </c:pt>
                <c:pt idx="1">
                  <c:v>0.30861784759792815</c:v>
                </c:pt>
                <c:pt idx="2">
                  <c:v>0.310269619293556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0831090068017</c:v>
                </c:pt>
                <c:pt idx="1">
                  <c:v>0.5346190205615226</c:v>
                </c:pt>
                <c:pt idx="2">
                  <c:v>0.52766368830057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958615429262439</c:v>
                </c:pt>
                <c:pt idx="1">
                  <c:v>0.08118594842767966</c:v>
                </c:pt>
                <c:pt idx="2">
                  <c:v>0.084477667513371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3543511620697423</c:v>
                </c:pt>
                <c:pt idx="1">
                  <c:v>0.035184486703301</c:v>
                </c:pt>
                <c:pt idx="2">
                  <c:v>0.03521066111312707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5877042914580737</c:v>
                </c:pt>
                <c:pt idx="1">
                  <c:v>0.024104485113768476</c:v>
                </c:pt>
                <c:pt idx="2">
                  <c:v>0.02276073324953939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eerdamm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1966487406800802</c:v>
                </c:pt>
                <c:pt idx="1">
                  <c:v>0.01914670172718696</c:v>
                </c:pt>
                <c:pt idx="2">
                  <c:v>0.0189004201967930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822281860988296</c:v>
                </c:pt>
                <c:pt idx="1">
                  <c:v>0.01788546022268783</c:v>
                </c:pt>
                <c:pt idx="2">
                  <c:v>0.02201453947518349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5671700042976</c:v>
                </c:pt>
                <c:pt idx="1">
                  <c:v>0.016250967549345324</c:v>
                </c:pt>
                <c:pt idx="2">
                  <c:v>0.01693345744652877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0226696995138696</c:v>
                </c:pt>
                <c:pt idx="1">
                  <c:v>0.010143265702351956</c:v>
                </c:pt>
                <c:pt idx="2">
                  <c:v>0.00944184472878286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09519989692602919</c:v>
                </c:pt>
                <c:pt idx="1">
                  <c:v>0.009656756538598073</c:v>
                </c:pt>
                <c:pt idx="2">
                  <c:v>0.01093045979731684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6606904714787355</c:v>
                </c:pt>
                <c:pt idx="1">
                  <c:v>0.2518229074535581</c:v>
                </c:pt>
                <c:pt idx="2">
                  <c:v>0.251666528178779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413551677960666</c:v>
                </c:pt>
                <c:pt idx="1">
                  <c:v>0.3905697083415578</c:v>
                </c:pt>
                <c:pt idx="2">
                  <c:v>0.390207066643473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4127911436739604</c:v>
                </c:pt>
                <c:pt idx="1">
                  <c:v>0.05347618457437322</c:v>
                </c:pt>
                <c:pt idx="2">
                  <c:v>0.0518669749292213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319429603467888</c:v>
                </c:pt>
                <c:pt idx="1">
                  <c:v>0.04852796149027104</c:v>
                </c:pt>
                <c:pt idx="2">
                  <c:v>0.0437493917130050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3926657026549125</c:v>
                </c:pt>
                <c:pt idx="1">
                  <c:v>0.04316313037363447</c:v>
                </c:pt>
                <c:pt idx="2">
                  <c:v>0.0413954170013749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9363503470901146</c:v>
                </c:pt>
                <c:pt idx="1">
                  <c:v>0.040453008282185315</c:v>
                </c:pt>
                <c:pt idx="2">
                  <c:v>0.04354549083741226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57277081071857</c:v>
                </c:pt>
                <c:pt idx="1">
                  <c:v>0.03573874996463437</c:v>
                </c:pt>
                <c:pt idx="2">
                  <c:v>0.03145447449633160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051786473604702</c:v>
                </c:pt>
                <c:pt idx="1">
                  <c:v>0.03244081041684195</c:v>
                </c:pt>
                <c:pt idx="2">
                  <c:v>0.03278535181599915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504087298102495</c:v>
                </c:pt>
                <c:pt idx="1">
                  <c:v>0.026332797404443907</c:v>
                </c:pt>
                <c:pt idx="2">
                  <c:v>0.026237495947655724</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032413933292364</c:v>
                </c:pt>
                <c:pt idx="1">
                  <c:v>0.019810973652028465</c:v>
                </c:pt>
                <c:pt idx="2">
                  <c:v>0.01736319592241834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2179646739081036</c:v>
                </c:pt>
                <c:pt idx="1">
                  <c:v>0.30948667550002945</c:v>
                </c:pt>
                <c:pt idx="2">
                  <c:v>0.321395140693108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590126092188603</c:v>
                </c:pt>
                <c:pt idx="1">
                  <c:v>0.46045110992666394</c:v>
                </c:pt>
                <c:pt idx="2">
                  <c:v>0.456809533541405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489266880860292</c:v>
                </c:pt>
                <c:pt idx="1">
                  <c:v>0.0642421903877043</c:v>
                </c:pt>
                <c:pt idx="2">
                  <c:v>0.0639673704648539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829206218360551</c:v>
                </c:pt>
                <c:pt idx="1">
                  <c:v>0.044374554385154974</c:v>
                </c:pt>
                <c:pt idx="2">
                  <c:v>0.0405507440068299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772941620870555</c:v>
                </c:pt>
                <c:pt idx="1">
                  <c:v>0.036324954746398054</c:v>
                </c:pt>
                <c:pt idx="2">
                  <c:v>0.0350953561038866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3183832634331854</c:v>
                </c:pt>
                <c:pt idx="1">
                  <c:v>0.034518003199323084</c:v>
                </c:pt>
                <c:pt idx="2">
                  <c:v>0.0387631579807175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1312173272964196</c:v>
                </c:pt>
                <c:pt idx="1">
                  <c:v>0.04847895864166674</c:v>
                </c:pt>
                <c:pt idx="2">
                  <c:v>0.0431837752149491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21031238505609</c:v>
                </c:pt>
                <c:pt idx="1">
                  <c:v>0.03496439366226931</c:v>
                </c:pt>
                <c:pt idx="2">
                  <c:v>0.03575188796434091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147270479569597</c:v>
                </c:pt>
                <c:pt idx="1">
                  <c:v>0.02211132993912752</c:v>
                </c:pt>
                <c:pt idx="2">
                  <c:v>0.0228810650697877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4676080811010794</c:v>
                </c:pt>
                <c:pt idx="1">
                  <c:v>0.014444755683566905</c:v>
                </c:pt>
                <c:pt idx="2">
                  <c:v>0.012706403345857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504366765126363</c:v>
                </c:pt>
                <c:pt idx="1">
                  <c:v>0.2400897494281252</c:v>
                </c:pt>
                <c:pt idx="2">
                  <c:v>0.250290706307371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58811699551541</c:v>
                </c:pt>
                <c:pt idx="1">
                  <c:v>0.34772876157735344</c:v>
                </c:pt>
                <c:pt idx="2">
                  <c:v>0.338752069944342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9451972775453</c:v>
                </c:pt>
                <c:pt idx="1">
                  <c:v>0.055289511450134124</c:v>
                </c:pt>
                <c:pt idx="2">
                  <c:v>0.0514631994722743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065581779051832</c:v>
                </c:pt>
                <c:pt idx="1">
                  <c:v>0.04720413549367282</c:v>
                </c:pt>
                <c:pt idx="2">
                  <c:v>0.044628216913513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436028916157469</c:v>
                </c:pt>
                <c:pt idx="1">
                  <c:v>0.04331621030332125</c:v>
                </c:pt>
                <c:pt idx="2">
                  <c:v>0.0432212139574327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11271254097667</c:v>
                </c:pt>
                <c:pt idx="1">
                  <c:v>0.04331226956947243</c:v>
                </c:pt>
                <c:pt idx="2">
                  <c:v>0.04060759767344420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908344418415126</c:v>
                </c:pt>
                <c:pt idx="1">
                  <c:v>0.03921126649875092</c:v>
                </c:pt>
                <c:pt idx="2">
                  <c:v>0.0413469408107657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67524986602999</c:v>
                </c:pt>
                <c:pt idx="1">
                  <c:v>0.03541802626692616</c:v>
                </c:pt>
                <c:pt idx="2">
                  <c:v>0.0337721023140083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934477494483563</c:v>
                </c:pt>
                <c:pt idx="1">
                  <c:v>0.031030571393978523</c:v>
                </c:pt>
                <c:pt idx="2">
                  <c:v>0.0311513179201552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028681251508453</c:v>
                </c:pt>
                <c:pt idx="1">
                  <c:v>0.020262401743663144</c:v>
                </c:pt>
                <c:pt idx="2">
                  <c:v>0.019967445992421215</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5%</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3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470733499246517</c:v>
                </c:pt>
                <c:pt idx="1">
                  <c:v>0.33722684570272715</c:v>
                </c:pt>
                <c:pt idx="2">
                  <c:v>0.355089895001642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8101810632082184</c:v>
                </c:pt>
                <c:pt idx="1">
                  <c:v>0.3923065094733251</c:v>
                </c:pt>
                <c:pt idx="2">
                  <c:v>0.382047787257795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209144821708365</c:v>
                </c:pt>
                <c:pt idx="1">
                  <c:v>0.07146644244403745</c:v>
                </c:pt>
                <c:pt idx="2">
                  <c:v>0.0667321336845588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4785374487464198</c:v>
                </c:pt>
                <c:pt idx="1">
                  <c:v>0.04434719044295574</c:v>
                </c:pt>
                <c:pt idx="2">
                  <c:v>0.0425306492463895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026558068237941</c:v>
                </c:pt>
                <c:pt idx="1">
                  <c:v>0.03737702233535911</c:v>
                </c:pt>
                <c:pt idx="2">
                  <c:v>0.0382232731225753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057213332781462</c:v>
                </c:pt>
                <c:pt idx="1">
                  <c:v>0.05377783958204125</c:v>
                </c:pt>
                <c:pt idx="2">
                  <c:v>0.05112182757466824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119620576854847</c:v>
                </c:pt>
                <c:pt idx="1">
                  <c:v>0.03314118684697318</c:v>
                </c:pt>
                <c:pt idx="2">
                  <c:v>0.036789608723626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2888824423817336</c:v>
                </c:pt>
                <c:pt idx="1">
                  <c:v>0.05078308228387535</c:v>
                </c:pt>
                <c:pt idx="2">
                  <c:v>0.0492680968517446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551653818354065</c:v>
                </c:pt>
                <c:pt idx="1">
                  <c:v>0.029305847708897062</c:v>
                </c:pt>
                <c:pt idx="2">
                  <c:v>0.03042507960354729</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606265929418654</c:v>
                </c:pt>
                <c:pt idx="1">
                  <c:v>0.015089433333171401</c:v>
                </c:pt>
                <c:pt idx="2">
                  <c:v>0.01503144436331094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7995603663712</c:v>
                </c:pt>
                <c:pt idx="1">
                  <c:v>0.27240544554936436</c:v>
                </c:pt>
                <c:pt idx="2">
                  <c:v>0.287830099571783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27043869336688</c:v>
                </c:pt>
                <c:pt idx="1">
                  <c:v>0.33309428561066473</c:v>
                </c:pt>
                <c:pt idx="2">
                  <c:v>0.33096505252607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585248062012664</c:v>
                </c:pt>
                <c:pt idx="1">
                  <c:v>0.07043935861480122</c:v>
                </c:pt>
                <c:pt idx="2">
                  <c:v>0.0671268132069494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704152605130397</c:v>
                </c:pt>
                <c:pt idx="1">
                  <c:v>0.06210825931206432</c:v>
                </c:pt>
                <c:pt idx="2">
                  <c:v>0.0544739751984472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290601919800918</c:v>
                </c:pt>
                <c:pt idx="1">
                  <c:v>0.05163588558443676</c:v>
                </c:pt>
                <c:pt idx="2">
                  <c:v>0.049057310004689936</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85082641031488</c:v>
                </c:pt>
                <c:pt idx="1">
                  <c:v>0.046673294299037174</c:v>
                </c:pt>
                <c:pt idx="2">
                  <c:v>0.05424361314148848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894812814084385</c:v>
                </c:pt>
                <c:pt idx="1">
                  <c:v>0.0441252102691077</c:v>
                </c:pt>
                <c:pt idx="2">
                  <c:v>0.03525471316022389</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93571807860892</c:v>
                </c:pt>
                <c:pt idx="1">
                  <c:v>0.03773908114507593</c:v>
                </c:pt>
                <c:pt idx="2">
                  <c:v>0.0389395701704736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5845115930821</c:v>
                </c:pt>
                <c:pt idx="1">
                  <c:v>0.029367651724099907</c:v>
                </c:pt>
                <c:pt idx="2">
                  <c:v>0.03044838876369320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7400068881640444</c:v>
                </c:pt>
                <c:pt idx="1">
                  <c:v>0.02836682486738423</c:v>
                </c:pt>
                <c:pt idx="2">
                  <c:v>0.02559205885316940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3087763340924012</c:v>
                </c:pt>
                <c:pt idx="1">
                  <c:v>0.296450148573328</c:v>
                </c:pt>
                <c:pt idx="2">
                  <c:v>0.31389850497479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96226</c:v>
                </c:pt>
                <c:pt idx="1">
                  <c:v>1.274666</c:v>
                </c:pt>
                <c:pt idx="2">
                  <c:v>0.77658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24691</c:v>
                </c:pt>
                <c:pt idx="1">
                  <c:v>0.406363</c:v>
                </c:pt>
                <c:pt idx="2">
                  <c:v>0.2641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26223931319958</c:v>
                </c:pt>
                <c:pt idx="1">
                  <c:v>0.3997138172150152</c:v>
                </c:pt>
                <c:pt idx="2">
                  <c:v>0.3960194417329764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606338497943914</c:v>
                </c:pt>
                <c:pt idx="1">
                  <c:v>0.08181630789718072</c:v>
                </c:pt>
                <c:pt idx="2">
                  <c:v>0.080735439427816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915819410484663</c:v>
                </c:pt>
                <c:pt idx="1">
                  <c:v>0.055694212937211926</c:v>
                </c:pt>
                <c:pt idx="2">
                  <c:v>0.0508110470083029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394811033757786</c:v>
                </c:pt>
                <c:pt idx="1">
                  <c:v>0.04234734984299428</c:v>
                </c:pt>
                <c:pt idx="2">
                  <c:v>0.04055911422816286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719727131175677</c:v>
                </c:pt>
                <c:pt idx="1">
                  <c:v>0.04080979137956097</c:v>
                </c:pt>
                <c:pt idx="2">
                  <c:v>0.0482766742486103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420062741504112</c:v>
                </c:pt>
                <c:pt idx="1">
                  <c:v>0.05723088441512185</c:v>
                </c:pt>
                <c:pt idx="2">
                  <c:v>0.0456934242999807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470504562275975</c:v>
                </c:pt>
                <c:pt idx="1">
                  <c:v>0.039664796206721836</c:v>
                </c:pt>
                <c:pt idx="2">
                  <c:v>0.039741861297991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2948987225645</c:v>
                </c:pt>
                <c:pt idx="1">
                  <c:v>0.023574631281664996</c:v>
                </c:pt>
                <c:pt idx="2">
                  <c:v>0.0256533160407923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997954097769994</c:v>
                </c:pt>
                <c:pt idx="1">
                  <c:v>0.020849976774387206</c:v>
                </c:pt>
                <c:pt idx="2">
                  <c:v>0.018632017336689545</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24917644489323795</c:v>
                </c:pt>
                <c:pt idx="1">
                  <c:v>0.238298232050141</c:v>
                </c:pt>
                <c:pt idx="2">
                  <c:v>0.253877664378676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81885708246826</c:v>
                </c:pt>
                <c:pt idx="1">
                  <c:v>0.6102136374433071</c:v>
                </c:pt>
                <c:pt idx="2">
                  <c:v>0.59003875933554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981930575159402</c:v>
                </c:pt>
                <c:pt idx="1">
                  <c:v>0.09429059171696517</c:v>
                </c:pt>
                <c:pt idx="2">
                  <c:v>0.0873526929166906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199212342372345</c:v>
                </c:pt>
                <c:pt idx="1">
                  <c:v>0.2954957708397277</c:v>
                </c:pt>
                <c:pt idx="2">
                  <c:v>0.32260854774776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22107082154081</c:v>
                </c:pt>
                <c:pt idx="1">
                  <c:v>0.7040431580963993</c:v>
                </c:pt>
                <c:pt idx="2">
                  <c:v>0.675475494778961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093686819117975</c:v>
                </c:pt>
                <c:pt idx="1">
                  <c:v>0.054905420299499796</c:v>
                </c:pt>
                <c:pt idx="2">
                  <c:v>0.050442275560740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769560496547394</c:v>
                </c:pt>
                <c:pt idx="1">
                  <c:v>0.24105142160410087</c:v>
                </c:pt>
                <c:pt idx="2">
                  <c:v>0.2740822296602985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033363473667063</c:v>
                </c:pt>
                <c:pt idx="1">
                  <c:v>0.6112854904177099</c:v>
                </c:pt>
                <c:pt idx="2">
                  <c:v>0.600905936688329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072714690068627</c:v>
                </c:pt>
                <c:pt idx="1">
                  <c:v>0.09473403383068782</c:v>
                </c:pt>
                <c:pt idx="2">
                  <c:v>0.097767576705786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30593650573260756</c:v>
                </c:pt>
                <c:pt idx="1">
                  <c:v>0.2939804757516024</c:v>
                </c:pt>
                <c:pt idx="2">
                  <c:v>0.30132648660588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974060922171145</c:v>
                </c:pt>
                <c:pt idx="1">
                  <c:v>0.7015482778702806</c:v>
                </c:pt>
                <c:pt idx="2">
                  <c:v>0.687897868840329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55812104825508725</c:v>
                </c:pt>
                <c:pt idx="1">
                  <c:v>0.056717046523290196</c:v>
                </c:pt>
                <c:pt idx="2">
                  <c:v>0.0583155008018633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678180295737676</c:v>
                </c:pt>
                <c:pt idx="1">
                  <c:v>0.24173467560642914</c:v>
                </c:pt>
                <c:pt idx="2">
                  <c:v>0.253786630357806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91847488580823</c:v>
                </c:pt>
                <c:pt idx="1">
                  <c:v>0.6262653277081419</c:v>
                </c:pt>
                <c:pt idx="2">
                  <c:v>0.582472687228583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3%</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351529757032896</c:v>
                </c:pt>
                <c:pt idx="1">
                  <c:v>0.11970973203770612</c:v>
                </c:pt>
                <c:pt idx="2">
                  <c:v>0.1130130472502840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4637213848848</c:v>
                </c:pt>
                <c:pt idx="1">
                  <c:v>0.254024940254152</c:v>
                </c:pt>
                <c:pt idx="2">
                  <c:v>0.30451426552113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775651069025477</c:v>
                </c:pt>
                <c:pt idx="1">
                  <c:v>0.7119780199100473</c:v>
                </c:pt>
                <c:pt idx="2">
                  <c:v>0.655054016432592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826449425821726</c:v>
                </c:pt>
                <c:pt idx="1">
                  <c:v>0.06947547268215704</c:v>
                </c:pt>
                <c:pt idx="2">
                  <c:v>0.0652239363511170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978995051527974</c:v>
                </c:pt>
                <c:pt idx="1">
                  <c:v>0.21854650740779574</c:v>
                </c:pt>
                <c:pt idx="2">
                  <c:v>0.27972204721629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684604963854084</c:v>
                </c:pt>
                <c:pt idx="1">
                  <c:v>0.5632784772458401</c:v>
                </c:pt>
                <c:pt idx="2">
                  <c:v>0.4626052928141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813211458620889</c:v>
                </c:pt>
                <c:pt idx="1">
                  <c:v>0.047948363625389755</c:v>
                </c:pt>
                <c:pt idx="2">
                  <c:v>0.00770146155304282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657963398700094</c:v>
                </c:pt>
                <c:pt idx="1">
                  <c:v>0.01660960367178569</c:v>
                </c:pt>
                <c:pt idx="2">
                  <c:v>0.02005638405443962</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3668277550413818</c:v>
                </c:pt>
                <c:pt idx="1">
                  <c:v>0.37216355545698443</c:v>
                </c:pt>
                <c:pt idx="2">
                  <c:v>0.50963686157834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617990342847149</c:v>
                </c:pt>
                <c:pt idx="1">
                  <c:v>0.6508822207913313</c:v>
                </c:pt>
                <c:pt idx="2">
                  <c:v>0.545271016417566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41822202187122196</c:v>
                </c:pt>
                <c:pt idx="1">
                  <c:v>0.04132734326915824</c:v>
                </c:pt>
                <c:pt idx="2">
                  <c:v>0.00679381277877377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233966068207935</c:v>
                </c:pt>
                <c:pt idx="1">
                  <c:v>0.012130371899245356</c:v>
                </c:pt>
                <c:pt idx="2">
                  <c:v>0.01404126096141072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4144797459955</c:v>
                </c:pt>
                <c:pt idx="1">
                  <c:v>0.2956600640402651</c:v>
                </c:pt>
                <c:pt idx="2">
                  <c:v>0.433893909842248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1415443381257616</c:v>
                </c:pt>
                <c:pt idx="1">
                  <c:v>0.10418613551916055</c:v>
                </c:pt>
                <c:pt idx="2">
                  <c:v>0.100913712875604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0168148525907894</c:v>
                </c:pt>
                <c:pt idx="1">
                  <c:v>0.019435547576662316</c:v>
                </c:pt>
                <c:pt idx="2">
                  <c:v>0.02708817508811352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7%</a:t>
                    </a:r>
                  </a:p>
                </c:rich>
              </c:tx>
              <c:showLegendKey val="0"/>
              <c:showVal val="1"/>
              <c:showCatName val="0"/>
              <c:showSerName val="0"/>
              <c:showPercent val="0"/>
              <c:showBubbleSize val="0"/>
            </c:dLbl>
            <c:dLbl>
              <c:idx val="1"/>
              <c:tx>
                <c:rich>
                  <a:bodyPr/>
                  <a:lstStyle/>
                  <a:p>
                    <a:r>
                      <a:rPr sz="800">
                        <a:solidFill>
                          <a:srgbClr val="FFFFFF"/>
                        </a:solidFill>
                        <a:latin typeface="Nexa Book"/>
                      </a:rPr>
                      <a:t>88%</a:t>
                    </a:r>
                  </a:p>
                </c:rich>
              </c:tx>
              <c:showLegendKey val="0"/>
              <c:showVal val="1"/>
              <c:showCatName val="0"/>
              <c:showSerName val="0"/>
              <c:showPercent val="0"/>
              <c:showBubbleSize val="0"/>
            </c:dLbl>
            <c:dLbl>
              <c:idx val="2"/>
              <c:tx>
                <c:rich>
                  <a:bodyPr/>
                  <a:lstStyle/>
                  <a:p>
                    <a:r>
                      <a:rPr sz="800">
                        <a:solidFill>
                          <a:srgbClr val="FFFFFF"/>
                        </a:solidFill>
                        <a:latin typeface="Nexa Book"/>
                      </a:rPr>
                      <a:t>8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65677417661516</c:v>
                </c:pt>
                <c:pt idx="1">
                  <c:v>0.876378316904177</c:v>
                </c:pt>
                <c:pt idx="2">
                  <c:v>0.871998112036281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25.1</a:t>
                    </a:r>
                  </a:p>
                </c:rich>
              </c:tx>
              <c:showLegendKey val="0"/>
              <c:showVal val="1"/>
              <c:showCatName val="0"/>
              <c:showSerName val="0"/>
              <c:showPercent val="0"/>
              <c:showBubbleSize val="0"/>
            </c:dLbl>
            <c:dLbl>
              <c:idx val="1"/>
              <c:tx>
                <c:rich>
                  <a:bodyPr/>
                  <a:lstStyle/>
                  <a:p>
                    <a:r>
                      <a:rPr>
                        <a:solidFill>
                          <a:srgbClr val="FFFFFF"/>
                        </a:solidFill>
                      </a:rPr>
                      <a:t>24.8</a:t>
                    </a:r>
                  </a:p>
                </c:rich>
              </c:tx>
              <c:showLegendKey val="0"/>
              <c:showVal val="1"/>
              <c:showCatName val="0"/>
              <c:showSerName val="0"/>
              <c:showPercent val="0"/>
              <c:showBubbleSize val="0"/>
            </c:dLbl>
            <c:dLbl>
              <c:idx val="2"/>
              <c:tx>
                <c:rich>
                  <a:bodyPr/>
                  <a:lstStyle/>
                  <a:p>
                    <a:r>
                      <a:rPr>
                        <a:solidFill>
                          <a:srgbClr val="FFFFFF"/>
                        </a:solidFill>
                      </a:rPr>
                      <a:t>1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124022</c:v>
                </c:pt>
                <c:pt idx="1">
                  <c:v>24.7649</c:v>
                </c:pt>
                <c:pt idx="2">
                  <c:v>15.15733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1.1</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074427</c:v>
                </c:pt>
                <c:pt idx="1">
                  <c:v>10.311892</c:v>
                </c:pt>
                <c:pt idx="2">
                  <c:v>6.5371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897111200880054</c:v>
                </c:pt>
                <c:pt idx="1">
                  <c:v>0.09601707622443911</c:v>
                </c:pt>
                <c:pt idx="2">
                  <c:v>0.0910624173570445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4723741218278507</c:v>
                </c:pt>
                <c:pt idx="1">
                  <c:v>0.014099135610910571</c:v>
                </c:pt>
                <c:pt idx="2">
                  <c:v>0.01891680384272876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76305146772921</c:v>
                </c:pt>
                <c:pt idx="1">
                  <c:v>0.8898837881646503</c:v>
                </c:pt>
                <c:pt idx="2">
                  <c:v>0.89002077880022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770451733039442</c:v>
                </c:pt>
                <c:pt idx="1">
                  <c:v>0.4622743690596765</c:v>
                </c:pt>
                <c:pt idx="2">
                  <c:v>0.445825187132355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20824195839771527</c:v>
                </c:pt>
                <c:pt idx="1">
                  <c:v>0.01921216219886964</c:v>
                </c:pt>
                <c:pt idx="2">
                  <c:v>0.0196031475049883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7525063360584099</c:v>
                </c:pt>
                <c:pt idx="1">
                  <c:v>0.00010172436393252297</c:v>
                </c:pt>
                <c:pt idx="2">
                  <c:v>2.2372153732491587e-0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49%</a:t>
                    </a:r>
                  </a:p>
                </c:rich>
              </c:tx>
              <c:showLegendKey val="0"/>
              <c:showVal val="1"/>
              <c:showCatName val="0"/>
              <c:showSerName val="0"/>
              <c:showPercent val="0"/>
              <c:showBubbleSize val="0"/>
            </c:dLbl>
            <c:dLbl>
              <c:idx val="1"/>
              <c:tx>
                <c:rich>
                  <a:bodyPr/>
                  <a:lstStyle/>
                  <a:p>
                    <a:r>
                      <a:rPr sz="800">
                        <a:solidFill>
                          <a:srgbClr val="FFFFFF"/>
                        </a:solidFill>
                        <a:latin typeface="Nexa Book"/>
                      </a:rPr>
                      <a:t>52%</a:t>
                    </a:r>
                  </a:p>
                </c:rich>
              </c:tx>
              <c:showLegendKey val="0"/>
              <c:showVal val="1"/>
              <c:showCatName val="0"/>
              <c:showSerName val="0"/>
              <c:showPercent val="0"/>
              <c:showBubbleSize val="0"/>
            </c:dLbl>
            <c:dLbl>
              <c:idx val="2"/>
              <c:tx>
                <c:rich>
                  <a:bodyPr/>
                  <a:lstStyle/>
                  <a:p>
                    <a:r>
                      <a:rPr sz="800">
                        <a:solidFill>
                          <a:srgbClr val="FFFFFF"/>
                        </a:solidFill>
                        <a:latin typeface="Nexa Book"/>
                      </a:rPr>
                      <a:t>5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946055674957001</c:v>
                </c:pt>
                <c:pt idx="1">
                  <c:v>0.5184117443775212</c:v>
                </c:pt>
                <c:pt idx="2">
                  <c:v>0.534569428147282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67232245199491</c:v>
                </c:pt>
                <c:pt idx="1">
                  <c:v>0.5499543732667406</c:v>
                </c:pt>
                <c:pt idx="2">
                  <c:v>0.52673729529390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15173780774846409</c:v>
                </c:pt>
                <c:pt idx="1">
                  <c:v>0.013454544645202071</c:v>
                </c:pt>
                <c:pt idx="2">
                  <c:v>0.01364215468215273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4615573144542585</c:v>
                </c:pt>
                <c:pt idx="1">
                  <c:v>8.635693904713576e-05</c:v>
                </c:pt>
                <c:pt idx="2">
                  <c:v>2.581994937814496e-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403487421560662</c:v>
                </c:pt>
                <c:pt idx="1">
                  <c:v>0.43650472514901023</c:v>
                </c:pt>
                <c:pt idx="2">
                  <c:v>0.4596179680290009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ini Babybe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981374639541245</c:v>
                </c:pt>
                <c:pt idx="1">
                  <c:v>0.2592422416760622</c:v>
                </c:pt>
                <c:pt idx="2">
                  <c:v>0.2421936802307218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451623766171347</c:v>
                </c:pt>
                <c:pt idx="1">
                  <c:v>0.2566764435835322</c:v>
                </c:pt>
                <c:pt idx="2">
                  <c:v>0.2694168632528860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563527195604777</c:v>
                </c:pt>
                <c:pt idx="1">
                  <c:v>0.19694889000894678</c:v>
                </c:pt>
                <c:pt idx="2">
                  <c:v>0.2050870359926313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PL</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8244763212892554</c:v>
                </c:pt>
                <c:pt idx="1">
                  <c:v>0.18553130066392304</c:v>
                </c:pt>
                <c:pt idx="2">
                  <c:v>0.1750062701152850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0694097290247957</c:v>
                </c:pt>
                <c:pt idx="1">
                  <c:v>0.10160112406753578</c:v>
                </c:pt>
                <c:pt idx="2">
                  <c:v>0.1082961504084757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ini Babybe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850013013200604</c:v>
                </c:pt>
                <c:pt idx="1">
                  <c:v>0.18796892867920248</c:v>
                </c:pt>
                <c:pt idx="2">
                  <c:v>0.166104752371465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202383419937637</c:v>
                </c:pt>
                <c:pt idx="1">
                  <c:v>0.288215218176801</c:v>
                </c:pt>
                <c:pt idx="2">
                  <c:v>0.306609689492368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780732765960071</c:v>
                </c:pt>
                <c:pt idx="1">
                  <c:v>0.17437147095798863</c:v>
                </c:pt>
                <c:pt idx="2">
                  <c:v>0.1889572592397363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PL</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247817933503744</c:v>
                </c:pt>
                <c:pt idx="1">
                  <c:v>0.2870903703298211</c:v>
                </c:pt>
                <c:pt idx="2">
                  <c:v>0.274449899491681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892457973757302</c:v>
                </c:pt>
                <c:pt idx="1">
                  <c:v>0.0623540118561868</c:v>
                </c:pt>
                <c:pt idx="2">
                  <c:v>0.0638783994047486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279822864078793</c:v>
                </c:pt>
                <c:pt idx="1">
                  <c:v>0.32638086962569135</c:v>
                </c:pt>
                <c:pt idx="2">
                  <c:v>0.317186371041809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5769778981618474</c:v>
                </c:pt>
                <c:pt idx="1">
                  <c:v>0.24538875669045365</c:v>
                </c:pt>
                <c:pt idx="2">
                  <c:v>0.2340801012951064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171262007492328</c:v>
                </c:pt>
                <c:pt idx="1">
                  <c:v>0.21570013118303885</c:v>
                </c:pt>
                <c:pt idx="2">
                  <c:v>0.2271730587365997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779136146810404</c:v>
                </c:pt>
                <c:pt idx="1">
                  <c:v>0.2125302425008161</c:v>
                </c:pt>
                <c:pt idx="2">
                  <c:v>0.2215604689264841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7992400856925196</c:v>
                </c:pt>
                <c:pt idx="1">
                  <c:v>0.39875152354276144</c:v>
                </c:pt>
                <c:pt idx="2">
                  <c:v>0.3934939904781545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52899925184772</c:v>
                </c:pt>
                <c:pt idx="1">
                  <c:v>0.18802615772052364</c:v>
                </c:pt>
                <c:pt idx="2">
                  <c:v>0.1663201718993879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61833412886043</c:v>
                </c:pt>
                <c:pt idx="1">
                  <c:v>0.2049668901091823</c:v>
                </c:pt>
                <c:pt idx="2">
                  <c:v>0.22301711995861467</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53636508902961</c:v>
                </c:pt>
                <c:pt idx="1">
                  <c:v>0.20825542862753266</c:v>
                </c:pt>
                <c:pt idx="2">
                  <c:v>0.2171687176638428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280461912711667</c:v>
                </c:pt>
                <c:pt idx="1">
                  <c:v>0.2780847816218201</c:v>
                </c:pt>
                <c:pt idx="2">
                  <c:v>0.2962001898833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03338485094617</c:v>
                </c:pt>
                <c:pt idx="1">
                  <c:v>0.2745487300735395</c:v>
                </c:pt>
                <c:pt idx="2">
                  <c:v>0.2464736949616543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314921266180272</c:v>
                </c:pt>
                <c:pt idx="1">
                  <c:v>0.20480254429687053</c:v>
                </c:pt>
                <c:pt idx="2">
                  <c:v>0.2220789295295294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5371231970161895</c:v>
                </c:pt>
                <c:pt idx="1">
                  <c:v>0.24256394400776982</c:v>
                </c:pt>
                <c:pt idx="2">
                  <c:v>0.2352471856254272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65759396197711</c:v>
                </c:pt>
                <c:pt idx="1">
                  <c:v>0.325784561565323</c:v>
                </c:pt>
                <c:pt idx="2">
                  <c:v>0.337518934719209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34260321171511</c:v>
                </c:pt>
                <c:pt idx="1">
                  <c:v>0.20550226154802484</c:v>
                </c:pt>
                <c:pt idx="2">
                  <c:v>0.179037815768501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289269337937714</c:v>
                </c:pt>
                <c:pt idx="1">
                  <c:v>0.18515451327796464</c:v>
                </c:pt>
                <c:pt idx="2">
                  <c:v>0.2114734544950373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9710533488370067</c:v>
                </c:pt>
                <c:pt idx="1">
                  <c:v>0.2835586636086876</c:v>
                </c:pt>
                <c:pt idx="2">
                  <c:v>0.271969795017251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12609930477698</c:v>
                </c:pt>
                <c:pt idx="1">
                  <c:v>0.2721550772372144</c:v>
                </c:pt>
                <c:pt idx="2">
                  <c:v>0.291361294728192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0756487596286197</c:v>
                </c:pt>
                <c:pt idx="1">
                  <c:v>0.21810596739073007</c:v>
                </c:pt>
                <c:pt idx="2">
                  <c:v>0.1955239867286825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843383143026531</c:v>
                </c:pt>
                <c:pt idx="1">
                  <c:v>0.11325267204501442</c:v>
                </c:pt>
                <c:pt idx="2">
                  <c:v>0.0978980910668718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4742184608552564</c:v>
                </c:pt>
                <c:pt idx="1">
                  <c:v>0.00969350106391927</c:v>
                </c:pt>
                <c:pt idx="2">
                  <c:v>0.00856748053962674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6.476885445246499e-08</c:v>
                </c:pt>
                <c:pt idx="2">
                  <c:v>9.948942181783735e-0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979981149505503</c:v>
                </c:pt>
                <c:pt idx="1">
                  <c:v>0.3867927174942674</c:v>
                </c:pt>
                <c:pt idx="2">
                  <c:v>0.4066490474472042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78479</c:v>
                </c:pt>
                <c:pt idx="1">
                  <c:v>1.453398</c:v>
                </c:pt>
                <c:pt idx="2">
                  <c:v>0.775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34808</c:v>
                </c:pt>
                <c:pt idx="1">
                  <c:v>0.406467</c:v>
                </c:pt>
                <c:pt idx="2">
                  <c:v>0.301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610430855893375</c:v>
                </c:pt>
                <c:pt idx="1">
                  <c:v>0.23475125495265559</c:v>
                </c:pt>
                <c:pt idx="2">
                  <c:v>0.255319595986058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82048537343988</c:v>
                </c:pt>
                <c:pt idx="1">
                  <c:v>0.31599883533448603</c:v>
                </c:pt>
                <c:pt idx="2">
                  <c:v>0.2858294825024562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110932971506813</c:v>
                </c:pt>
                <c:pt idx="1">
                  <c:v>0.08595504533849836</c:v>
                </c:pt>
                <c:pt idx="2">
                  <c:v>0.0729735597253412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253251189487167</c:v>
                </c:pt>
                <c:pt idx="1">
                  <c:v>0.006513349812463891</c:v>
                </c:pt>
                <c:pt idx="2">
                  <c:v>0.0055849455157166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1.0651778982900326e-07</c:v>
                </c:pt>
                <c:pt idx="2">
                  <c:v>8.483719276104595e-0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3713282568021121</c:v>
                </c:pt>
                <c:pt idx="1">
                  <c:v>0.35678140804410635</c:v>
                </c:pt>
                <c:pt idx="2">
                  <c:v>0.380292331433234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87675149746255</c:v>
                </c:pt>
                <c:pt idx="1">
                  <c:v>0.2706103447859732</c:v>
                </c:pt>
                <c:pt idx="2">
                  <c:v>0.28258214396181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55555016448562</c:v>
                </c:pt>
                <c:pt idx="1">
                  <c:v>0.1644330242300767</c:v>
                </c:pt>
                <c:pt idx="2">
                  <c:v>0.1354486281791448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731033187589608</c:v>
                </c:pt>
                <c:pt idx="1">
                  <c:v>0.11013501340624113</c:v>
                </c:pt>
                <c:pt idx="2">
                  <c:v>0.1064788549990516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0695296074933226</c:v>
                </c:pt>
                <c:pt idx="1">
                  <c:v>0.01660595511954921</c:v>
                </c:pt>
                <c:pt idx="2">
                  <c:v>0.01413140573019654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3.99659630363191e-07</c:v>
                </c:pt>
                <c:pt idx="2">
                  <c:v>5.917013341696854e-0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4767135542968906</c:v>
                </c:pt>
                <c:pt idx="1">
                  <c:v>0.43821526279852946</c:v>
                </c:pt>
                <c:pt idx="2">
                  <c:v>0.461358375428458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9493851159465</c:v>
                </c:pt>
                <c:pt idx="1">
                  <c:v>0.23585187646496603</c:v>
                </c:pt>
                <c:pt idx="2">
                  <c:v>0.251441813848011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1911050458439812</c:v>
                </c:pt>
                <c:pt idx="1">
                  <c:v>0.23615066170908042</c:v>
                </c:pt>
                <c:pt idx="2">
                  <c:v>0.1966143952630201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6623842748971</c:v>
                </c:pt>
                <c:pt idx="1">
                  <c:v>0.08816025356771669</c:v>
                </c:pt>
                <c:pt idx="2">
                  <c:v>0.0832714400615291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8332272055244212</c:v>
                </c:pt>
                <c:pt idx="1">
                  <c:v>0.011834368537973816</c:v>
                </c:pt>
                <c:pt idx="2">
                  <c:v>0.00991874812578863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7.202537021640503e-07</c:v>
                </c:pt>
                <c:pt idx="2">
                  <c:v>5.498908649929944e-0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44098399549544015</c:v>
                </c:pt>
                <c:pt idx="1">
                  <c:v>0.42800211946656086</c:v>
                </c:pt>
                <c:pt idx="2">
                  <c:v>0.458753052810785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03248914813743</c:v>
                </c:pt>
                <c:pt idx="1">
                  <c:v>0.28968573886699683</c:v>
                </c:pt>
                <c:pt idx="2">
                  <c:v>0.332267181444896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6953816894902735</c:v>
                </c:pt>
                <c:pt idx="1">
                  <c:v>0.1779503817170678</c:v>
                </c:pt>
                <c:pt idx="2">
                  <c:v>0.1454978028809706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29751948810175</c:v>
                </c:pt>
                <c:pt idx="1">
                  <c:v>0.15456208225746926</c:v>
                </c:pt>
                <c:pt idx="2">
                  <c:v>0.1380978421659179</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37016022358076685</c:v>
                </c:pt>
                <c:pt idx="1">
                  <c:v>0.009767775000789453</c:v>
                </c:pt>
                <c:pt idx="2">
                  <c:v>0.00767565109422173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9%</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3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934601424527732</c:v>
                </c:pt>
                <c:pt idx="1">
                  <c:v>0.3680340221576766</c:v>
                </c:pt>
                <c:pt idx="2">
                  <c:v>0.37646152241399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254969023594254</c:v>
                </c:pt>
                <c:pt idx="1">
                  <c:v>0.26452631056788234</c:v>
                </c:pt>
                <c:pt idx="2">
                  <c:v>0.306738927217327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544340525120391</c:v>
                </c:pt>
                <c:pt idx="1">
                  <c:v>0.2615827615931238</c:v>
                </c:pt>
                <c:pt idx="2">
                  <c:v>0.21569418855361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216452159063532</c:v>
                </c:pt>
                <c:pt idx="1">
                  <c:v>0.12204409988572104</c:v>
                </c:pt>
                <c:pt idx="2">
                  <c:v>0.1074593717389167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02558681662711191</c:v>
                </c:pt>
                <c:pt idx="1">
                  <c:v>0.0066878662806470375</c:v>
                </c:pt>
                <c:pt idx="2">
                  <c:v>0.004784002576451816</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3682930539986719</c:v>
                </c:pt>
                <c:pt idx="1">
                  <c:v>0.3451589616726258</c:v>
                </c:pt>
                <c:pt idx="2">
                  <c:v>0.36532350991369306</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82987776901738</c:v>
                </c:pt>
                <c:pt idx="1">
                  <c:v>0.6072962305084845</c:v>
                </c:pt>
                <c:pt idx="2">
                  <c:v>0.599788751088933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9287944952884</c:v>
                </c:pt>
                <c:pt idx="1">
                  <c:v>0.12284061958459776</c:v>
                </c:pt>
                <c:pt idx="2">
                  <c:v>0.1239176443678805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4959236645584443</c:v>
                </c:pt>
                <c:pt idx="1">
                  <c:v>0.013735603378997959</c:v>
                </c:pt>
                <c:pt idx="2">
                  <c:v>0.01052784040557233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6881319116895336</c:v>
                </c:pt>
                <c:pt idx="1">
                  <c:v>0.25612754652791986</c:v>
                </c:pt>
                <c:pt idx="2">
                  <c:v>0.265765764137613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406237654799243</c:v>
                </c:pt>
                <c:pt idx="1">
                  <c:v>0.6660528219147825</c:v>
                </c:pt>
                <c:pt idx="2">
                  <c:v>0.661705757027960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430434667660454</c:v>
                </c:pt>
                <c:pt idx="1">
                  <c:v>0.1219811736138123</c:v>
                </c:pt>
                <c:pt idx="2">
                  <c:v>0.1207476518810387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09622579481101566</c:v>
                </c:pt>
                <c:pt idx="1">
                  <c:v>0.009077917753009073</c:v>
                </c:pt>
                <c:pt idx="2">
                  <c:v>0.00693624595068926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544930836236964</c:v>
                </c:pt>
                <c:pt idx="1">
                  <c:v>0.2028880867183961</c:v>
                </c:pt>
                <c:pt idx="2">
                  <c:v>0.210610345140311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05000900468373</c:v>
                </c:pt>
                <c:pt idx="1">
                  <c:v>0.5901673086199049</c:v>
                </c:pt>
                <c:pt idx="2">
                  <c:v>0.56162377734150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024962939896644</c:v>
                </c:pt>
                <c:pt idx="1">
                  <c:v>0.10639721524034784</c:v>
                </c:pt>
                <c:pt idx="2">
                  <c:v>0.106630883404768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9184049521022813</c:v>
                </c:pt>
                <c:pt idx="1">
                  <c:v>0.018373422535976028</c:v>
                </c:pt>
                <c:pt idx="2">
                  <c:v>0.01607537583567613</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9006623103317347</c:v>
                </c:pt>
                <c:pt idx="1">
                  <c:v>0.28506205360377124</c:v>
                </c:pt>
                <c:pt idx="2">
                  <c:v>0.3156699634180481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258229066055372</c:v>
                </c:pt>
                <c:pt idx="1">
                  <c:v>0.6396453143011984</c:v>
                </c:pt>
                <c:pt idx="2">
                  <c:v>0.614415290716956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89326216655391</c:v>
                </c:pt>
                <c:pt idx="1">
                  <c:v>0.11362160404847615</c:v>
                </c:pt>
                <c:pt idx="2">
                  <c:v>0.1127064992800100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295599795644092</c:v>
                </c:pt>
                <c:pt idx="1">
                  <c:v>0.01256409294875969</c:v>
                </c:pt>
                <c:pt idx="2">
                  <c:v>0.01163323604549078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322884737724828</c:v>
                </c:pt>
                <c:pt idx="1">
                  <c:v>0.2341689887015658</c:v>
                </c:pt>
                <c:pt idx="2">
                  <c:v>0.2612449739575430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00792269982281</c:v>
                </c:pt>
                <c:pt idx="1">
                  <c:v>0.5917391673787604</c:v>
                </c:pt>
                <c:pt idx="2">
                  <c:v>0.553558613340376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908919981289372</c:v>
                </c:pt>
                <c:pt idx="1">
                  <c:v>0.1806365251038072</c:v>
                </c:pt>
                <c:pt idx="2">
                  <c:v>0.1942367288252600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812661019123336</c:v>
                </c:pt>
                <c:pt idx="1">
                  <c:v>0.017953003955699084</c:v>
                </c:pt>
                <c:pt idx="2">
                  <c:v>0.01304361906246254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0201891216975484</c:v>
                </c:pt>
                <c:pt idx="1">
                  <c:v>0.20967130356173336</c:v>
                </c:pt>
                <c:pt idx="2">
                  <c:v>0.23916103877190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25.2</a:t>
                    </a:r>
                  </a:p>
                </c:rich>
              </c:tx>
              <c:showLegendKey val="0"/>
              <c:showVal val="1"/>
              <c:showCatName val="0"/>
              <c:showSerName val="0"/>
              <c:showPercent val="0"/>
              <c:showBubbleSize val="0"/>
            </c:dLbl>
            <c:dLbl>
              <c:idx val="1"/>
              <c:tx>
                <c:rich>
                  <a:bodyPr/>
                  <a:lstStyle/>
                  <a:p>
                    <a:r>
                      <a:rPr>
                        <a:solidFill>
                          <a:srgbClr val="FFFFFF"/>
                        </a:solidFill>
                      </a:rPr>
                      <a:t>26.1</a:t>
                    </a:r>
                  </a:p>
                </c:rich>
              </c:tx>
              <c:showLegendKey val="0"/>
              <c:showVal val="1"/>
              <c:showCatName val="0"/>
              <c:showSerName val="0"/>
              <c:showPercent val="0"/>
              <c:showBubbleSize val="0"/>
            </c:dLbl>
            <c:dLbl>
              <c:idx val="2"/>
              <c:tx>
                <c:rich>
                  <a:bodyPr/>
                  <a:lstStyle/>
                  <a:p>
                    <a:r>
                      <a:rPr>
                        <a:solidFill>
                          <a:srgbClr val="FFFFFF"/>
                        </a:solidFill>
                      </a:rPr>
                      <a:t>1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5.214367</c:v>
                </c:pt>
                <c:pt idx="1">
                  <c:v>26.135601</c:v>
                </c:pt>
                <c:pt idx="2">
                  <c:v>14.95161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546676</c:v>
                </c:pt>
                <c:pt idx="1">
                  <c:v>8.899888</c:v>
                </c:pt>
                <c:pt idx="2">
                  <c:v>6.5464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PL</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6388661085426957</c:v>
                </c:pt>
                <c:pt idx="1">
                  <c:v>0.6527891958431875</c:v>
                </c:pt>
                <c:pt idx="2">
                  <c:v>0.63076842011556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4606642156112</c:v>
                </c:pt>
                <c:pt idx="1">
                  <c:v>0.1724209097995801</c:v>
                </c:pt>
                <c:pt idx="2">
                  <c:v>0.1772225534059388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oursin</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1068407568168952</c:v>
                </c:pt>
                <c:pt idx="1">
                  <c:v>0.010862990715260869</c:v>
                </c:pt>
                <c:pt idx="2">
                  <c:v>0.00784187329453104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545884173302333</c:v>
                </c:pt>
                <c:pt idx="1">
                  <c:v>0.16392690364197152</c:v>
                </c:pt>
                <c:pt idx="2">
                  <c:v>0.184167153183969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42%</a:t>
                    </a:r>
                  </a:p>
                </c:rich>
              </c:tx>
              <c:showLegendKey val="0"/>
              <c:showVal val="1"/>
              <c:showCatName val="0"/>
              <c:showSerName val="0"/>
              <c:showPercent val="0"/>
              <c:showBubbleSize val="0"/>
            </c:dLbl>
            <c:dLbl>
              <c:idx val="2"/>
              <c:tx>
                <c:rich>
                  <a:bodyPr/>
                  <a:lstStyle/>
                  <a:p>
                    <a:r>
                      <a:rPr sz="800">
                        <a:solidFill>
                          <a:srgbClr val="FFFFFF"/>
                        </a:solidFill>
                        <a:latin typeface="Nexa Book"/>
                      </a:rPr>
                      <a:t>8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288144832716916</c:v>
                </c:pt>
                <c:pt idx="1">
                  <c:v>0.41584113678885704</c:v>
                </c:pt>
                <c:pt idx="2">
                  <c:v>0.799398838003462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27777945429225</c:v>
                </c:pt>
                <c:pt idx="1">
                  <c:v>0.18446255643749485</c:v>
                </c:pt>
                <c:pt idx="2">
                  <c:v>0.0532610823457197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4088557037256</c:v>
                </c:pt>
                <c:pt idx="1">
                  <c:v>0.10367207729455426</c:v>
                </c:pt>
                <c:pt idx="2">
                  <c:v>0.0309909234508684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95815573100526</c:v>
                </c:pt>
                <c:pt idx="1">
                  <c:v>0.08955914063956373</c:v>
                </c:pt>
                <c:pt idx="2">
                  <c:v>0.02449778873412931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91655735834456</c:v>
                </c:pt>
                <c:pt idx="1">
                  <c:v>0.06682169767823125</c:v>
                </c:pt>
                <c:pt idx="2">
                  <c:v>0.0182179412238969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57304165452228</c:v>
                </c:pt>
                <c:pt idx="1">
                  <c:v>0.041177901850618176</c:v>
                </c:pt>
                <c:pt idx="2">
                  <c:v>0.0130091057202805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6134779485269</c:v>
                </c:pt>
                <c:pt idx="1">
                  <c:v>0.03475107363716077</c:v>
                </c:pt>
                <c:pt idx="2">
                  <c:v>0.010797691116721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741903172090225</c:v>
                </c:pt>
                <c:pt idx="1">
                  <c:v>0.027482963681809455</c:v>
                </c:pt>
                <c:pt idx="2">
                  <c:v>0.0074717199102331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05434381305031</c:v>
                </c:pt>
                <c:pt idx="1">
                  <c:v>0.01962636554632165</c:v>
                </c:pt>
                <c:pt idx="2">
                  <c:v>0.03513512326022876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338611833064902</c:v>
                </c:pt>
                <c:pt idx="1">
                  <c:v>0.015354472387889843</c:v>
                </c:pt>
                <c:pt idx="2">
                  <c:v>0.004757238308658389</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10586813667662189</c:v>
                </c:pt>
                <c:pt idx="1">
                  <c:v>0.0012506102493950399</c:v>
                </c:pt>
                <c:pt idx="2">
                  <c:v>0.0024500830138509573</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3.808103979483168e-09</c:v>
                </c:pt>
                <c:pt idx="2">
                  <c:v>2.9554562857366616e-06</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9.307690987945953e-06</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2.0176467579227287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15965632248552</c:v>
                </c:pt>
                <c:pt idx="1">
                  <c:v>0.43235680631348355</c:v>
                </c:pt>
                <c:pt idx="2">
                  <c:v>0.8135778615407271</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674920776814183</c:v>
                </c:pt>
                <c:pt idx="1">
                  <c:v>0.1900613612073375</c:v>
                </c:pt>
                <c:pt idx="2">
                  <c:v>0.0579361866549332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472425519402274</c:v>
                </c:pt>
                <c:pt idx="1">
                  <c:v>0.0935150637088953</c:v>
                </c:pt>
                <c:pt idx="2">
                  <c:v>0.0278144499600035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275738604048306</c:v>
                </c:pt>
                <c:pt idx="1">
                  <c:v>0.08018534379194811</c:v>
                </c:pt>
                <c:pt idx="2">
                  <c:v>0.02354265551225941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425756708945965</c:v>
                </c:pt>
                <c:pt idx="1">
                  <c:v>0.06340092874484755</c:v>
                </c:pt>
                <c:pt idx="2">
                  <c:v>0.0167790074586162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14593673771628</c:v>
                </c:pt>
                <c:pt idx="1">
                  <c:v>0.038215414276083784</c:v>
                </c:pt>
                <c:pt idx="2">
                  <c:v>0.0122960224587063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642467891583585</c:v>
                </c:pt>
                <c:pt idx="1">
                  <c:v>0.024967794168037825</c:v>
                </c:pt>
                <c:pt idx="2">
                  <c:v>0.00751647438077944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4098729557711826</c:v>
                </c:pt>
                <c:pt idx="1">
                  <c:v>0.04129592284886506</c:v>
                </c:pt>
                <c:pt idx="2">
                  <c:v>0.0110803380897332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251128473898506</c:v>
                </c:pt>
                <c:pt idx="1">
                  <c:v>0.011640970311325178</c:v>
                </c:pt>
                <c:pt idx="2">
                  <c:v>0.02050427243192108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310967633693977</c:v>
                </c:pt>
                <c:pt idx="1">
                  <c:v>0.023489365575964222</c:v>
                </c:pt>
                <c:pt idx="2">
                  <c:v>0.007240041488371922</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736148376442318</c:v>
                </c:pt>
                <c:pt idx="1">
                  <c:v>0.000871026795955328</c:v>
                </c:pt>
                <c:pt idx="2">
                  <c:v>0.0017056306616168857</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2.257256613040965e-09</c:v>
                </c:pt>
                <c:pt idx="2">
                  <c:v>1.379736823828576e-06</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5.515454290697017e-06</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1.641712170125141e-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2%</a:t>
                    </a:r>
                  </a:p>
                </c:rich>
              </c:tx>
              <c:showLegendKey val="0"/>
              <c:showVal val="1"/>
              <c:showCatName val="0"/>
              <c:showSerName val="0"/>
              <c:showPercent val="0"/>
              <c:showBubbleSize val="0"/>
            </c:dLbl>
            <c:dLbl>
              <c:idx val="1"/>
              <c:tx>
                <c:rich>
                  <a:bodyPr/>
                  <a:lstStyle/>
                  <a:p>
                    <a:r>
                      <a:rPr sz="800">
                        <a:solidFill>
                          <a:srgbClr val="FFFFFF"/>
                        </a:solidFill>
                        <a:latin typeface="Nexa Book"/>
                      </a:rPr>
                      <a:t>43%</a:t>
                    </a:r>
                  </a:p>
                </c:rich>
              </c:tx>
              <c:showLegendKey val="0"/>
              <c:showVal val="1"/>
              <c:showCatName val="0"/>
              <c:showSerName val="0"/>
              <c:showPercent val="0"/>
              <c:showBubbleSize val="0"/>
            </c:dLbl>
            <c:dLbl>
              <c:idx val="2"/>
              <c:tx>
                <c:rich>
                  <a:bodyPr/>
                  <a:lstStyle/>
                  <a:p>
                    <a:r>
                      <a:rPr sz="800">
                        <a:solidFill>
                          <a:srgbClr val="FFFFFF"/>
                        </a:solidFill>
                        <a:latin typeface="Nexa Book"/>
                      </a:rPr>
                      <a:t>9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437371128820894</c:v>
                </c:pt>
                <c:pt idx="1">
                  <c:v>0.42742704301610573</c:v>
                </c:pt>
                <c:pt idx="2">
                  <c:v>0.918304631863539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7990336478473914</c:v>
                </c:pt>
                <c:pt idx="1">
                  <c:v>0.17818595924681568</c:v>
                </c:pt>
                <c:pt idx="2">
                  <c:v>0.00919251897441198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92243847686602</c:v>
                </c:pt>
                <c:pt idx="1">
                  <c:v>0.09810091012908308</c:v>
                </c:pt>
                <c:pt idx="2">
                  <c:v>0.0046200953436704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81738443206599</c:v>
                </c:pt>
                <c:pt idx="1">
                  <c:v>0.08838413555083165</c:v>
                </c:pt>
                <c:pt idx="2">
                  <c:v>0.00511030977513274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612219188841643</c:v>
                </c:pt>
                <c:pt idx="1">
                  <c:v>0.06826906121356785</c:v>
                </c:pt>
                <c:pt idx="2">
                  <c:v>0.00848500633606703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99115336782086</c:v>
                </c:pt>
                <c:pt idx="1">
                  <c:v>0.04322682904188625</c:v>
                </c:pt>
                <c:pt idx="2">
                  <c:v>0.00175658183678504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615972841192764</c:v>
                </c:pt>
                <c:pt idx="1">
                  <c:v>0.0351390611888033</c:v>
                </c:pt>
                <c:pt idx="2">
                  <c:v>0.00175057216350240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3989726059460034</c:v>
                </c:pt>
                <c:pt idx="1">
                  <c:v>0.0240394566010102</c:v>
                </c:pt>
                <c:pt idx="2">
                  <c:v>0.001192061913072995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085487995412535</c:v>
                </c:pt>
                <c:pt idx="1">
                  <c:v>0.02117652838332763</c:v>
                </c:pt>
                <c:pt idx="2">
                  <c:v>0.0442254303141138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445622102679661</c:v>
                </c:pt>
                <c:pt idx="1">
                  <c:v>0.014094845688879464</c:v>
                </c:pt>
                <c:pt idx="2">
                  <c:v>0.0008631933470454182</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1520186087897684</c:v>
                </c:pt>
                <c:pt idx="1">
                  <c:v>0.001956169939689177</c:v>
                </c:pt>
                <c:pt idx="2">
                  <c:v>0.0044995981326583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412492376561888</c:v>
                </c:pt>
                <c:pt idx="1">
                  <c:v>0.44392724596379324</c:v>
                </c:pt>
                <c:pt idx="2">
                  <c:v>0.938526548088079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798778934872934</c:v>
                </c:pt>
                <c:pt idx="1">
                  <c:v>0.18759579642288035</c:v>
                </c:pt>
                <c:pt idx="2">
                  <c:v>0.0098696769212739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36301730004874</c:v>
                </c:pt>
                <c:pt idx="1">
                  <c:v>0.08676601235600832</c:v>
                </c:pt>
                <c:pt idx="2">
                  <c:v>0.00398497188369761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839249841948424</c:v>
                </c:pt>
                <c:pt idx="1">
                  <c:v>0.07763602061491807</c:v>
                </c:pt>
                <c:pt idx="2">
                  <c:v>0.00414981259154461</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448780786594509</c:v>
                </c:pt>
                <c:pt idx="1">
                  <c:v>0.06454899623129443</c:v>
                </c:pt>
                <c:pt idx="2">
                  <c:v>0.00789876198058942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0765159988478954</c:v>
                </c:pt>
                <c:pt idx="1">
                  <c:v>0.04101984584721316</c:v>
                </c:pt>
                <c:pt idx="2">
                  <c:v>0.0016675365544149019</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6346555150582308</c:v>
                </c:pt>
                <c:pt idx="1">
                  <c:v>0.025714972506381235</c:v>
                </c:pt>
                <c:pt idx="2">
                  <c:v>0.001264508700689748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04129667111971</c:v>
                </c:pt>
                <c:pt idx="1">
                  <c:v>0.036740410731689925</c:v>
                </c:pt>
                <c:pt idx="2">
                  <c:v>0.001865476289719336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3036036562263329</c:v>
                </c:pt>
                <c:pt idx="1">
                  <c:v>0.012587804128849835</c:v>
                </c:pt>
                <c:pt idx="2">
                  <c:v>0.0261948220334512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226765452521855</c:v>
                </c:pt>
                <c:pt idx="1">
                  <c:v>0.02205540678382278</c:v>
                </c:pt>
                <c:pt idx="2">
                  <c:v>0.001382029125935985</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1062946511940968</c:v>
                </c:pt>
                <c:pt idx="1">
                  <c:v>0.0014074884131486565</c:v>
                </c:pt>
                <c:pt idx="2">
                  <c:v>0.00319585583060385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40%</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333093369033235</c:v>
                </c:pt>
                <c:pt idx="1">
                  <c:v>0.4020639781628779</c:v>
                </c:pt>
                <c:pt idx="2">
                  <c:v>0.423280573960620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838742969529529</c:v>
                </c:pt>
                <c:pt idx="1">
                  <c:v>0.1892698374236848</c:v>
                </c:pt>
                <c:pt idx="2">
                  <c:v>0.1834082458593045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44957359600826</c:v>
                </c:pt>
                <c:pt idx="1">
                  <c:v>0.10539102432752251</c:v>
                </c:pt>
                <c:pt idx="2">
                  <c:v>0.1088925591396089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729066517503753</c:v>
                </c:pt>
                <c:pt idx="1">
                  <c:v>0.08709580278180772</c:v>
                </c:pt>
                <c:pt idx="2">
                  <c:v>0.0826171899100550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50889419195406</c:v>
                </c:pt>
                <c:pt idx="1">
                  <c:v>0.06577272926992472</c:v>
                </c:pt>
                <c:pt idx="2">
                  <c:v>0.04721833588646297</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53624883594925</c:v>
                </c:pt>
                <c:pt idx="1">
                  <c:v>0.043638157642278366</c:v>
                </c:pt>
                <c:pt idx="2">
                  <c:v>0.0469770175209834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103266136591986</c:v>
                </c:pt>
                <c:pt idx="1">
                  <c:v>0.03838557268045682</c:v>
                </c:pt>
                <c:pt idx="2">
                  <c:v>0.03790888807591316</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Aperitif</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8387428674489158</c:v>
                </c:pt>
                <c:pt idx="1">
                  <c:v>0.02620436054488339</c:v>
                </c:pt>
                <c:pt idx="2">
                  <c:v>0.02636669562097036</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5186419105391232</c:v>
                </c:pt>
                <c:pt idx="1">
                  <c:v>0.025579663591446814</c:v>
                </c:pt>
                <c:pt idx="2">
                  <c:v>0.02576593052134955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391394730888656</c:v>
                </c:pt>
                <c:pt idx="1">
                  <c:v>0.015592177201275165</c:v>
                </c:pt>
                <c:pt idx="2">
                  <c:v>0.016194926417963523</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43143595349019433</c:v>
                </c:pt>
                <c:pt idx="1">
                  <c:v>0.001006670196024774</c:v>
                </c:pt>
                <c:pt idx="2">
                  <c:v>0.0013196217739017849</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2.6177816986396815e-08</c:v>
                </c:pt>
                <c:pt idx="2">
                  <c:v>1.1739739449630639e-05</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3.742563197926023e-05</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8.499414373792345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1483267209127794</c:v>
                </c:pt>
                <c:pt idx="1">
                  <c:v>0.4096249236402076</c:v>
                </c:pt>
                <c:pt idx="2">
                  <c:v>0.4260836992744286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95459077797448</c:v>
                </c:pt>
                <c:pt idx="1">
                  <c:v>0.20469969812485775</c:v>
                </c:pt>
                <c:pt idx="2">
                  <c:v>0.2010745257666356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572608870111728</c:v>
                </c:pt>
                <c:pt idx="1">
                  <c:v>0.09528633220616392</c:v>
                </c:pt>
                <c:pt idx="2">
                  <c:v>0.098118591210051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610553881273707</c:v>
                </c:pt>
                <c:pt idx="1">
                  <c:v>0.08492614922200487</c:v>
                </c:pt>
                <c:pt idx="2">
                  <c:v>0.0813937421004931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62370169702892844</c:v>
                </c:pt>
                <c:pt idx="1">
                  <c:v>0.06178780448827644</c:v>
                </c:pt>
                <c:pt idx="2">
                  <c:v>0.04405054983197387</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677480015373564</c:v>
                </c:pt>
                <c:pt idx="1">
                  <c:v>0.039676893292979666</c:v>
                </c:pt>
                <c:pt idx="2">
                  <c:v>0.0443472434774834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7899556059422074</c:v>
                </c:pt>
                <c:pt idx="1">
                  <c:v>0.026189043968766312</c:v>
                </c:pt>
                <c:pt idx="2">
                  <c:v>0.02625374136422840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Aperitif</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6672258911987595</c:v>
                </c:pt>
                <c:pt idx="1">
                  <c:v>0.015715053767847355</c:v>
                </c:pt>
                <c:pt idx="2">
                  <c:v>0.01509208042114342</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Ingredient A Chaud</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691485070709393</c:v>
                </c:pt>
                <c:pt idx="1">
                  <c:v>0.03796373515167112</c:v>
                </c:pt>
                <c:pt idx="2">
                  <c:v>0.03802045764111302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289505659519911</c:v>
                </c:pt>
                <c:pt idx="1">
                  <c:v>0.023468004586864297</c:v>
                </c:pt>
                <c:pt idx="2">
                  <c:v>0.0246467770011938</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002631004847917208</c:v>
                </c:pt>
                <c:pt idx="1">
                  <c:v>0.0006623531007937599</c:v>
                </c:pt>
                <c:pt idx="2">
                  <c:v>0.0008909504301013065</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8.449566913645536e-09</c:v>
                </c:pt>
                <c:pt idx="2">
                  <c:v>5.245009615266624e-06</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2.1723315224727274e-05</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6.731563142588181e-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27777945429225</c:v>
                </c:pt>
                <c:pt idx="1">
                  <c:v>0.18446255643749485</c:v>
                </c:pt>
                <c:pt idx="2">
                  <c:v>0.0532610823457197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962536211145104</c:v>
                </c:pt>
                <c:pt idx="1">
                  <c:v>0.11734091169173315</c:v>
                </c:pt>
                <c:pt idx="2">
                  <c:v>0.2060381835954997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54088557037256</c:v>
                </c:pt>
                <c:pt idx="1">
                  <c:v>0.10367207729455426</c:v>
                </c:pt>
                <c:pt idx="2">
                  <c:v>0.03099092345086846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095815573100526</c:v>
                </c:pt>
                <c:pt idx="1">
                  <c:v>0.08955914063956373</c:v>
                </c:pt>
                <c:pt idx="2">
                  <c:v>0.024497788734129312</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660596356488333</c:v>
                </c:pt>
                <c:pt idx="1">
                  <c:v>0.09013221556766511</c:v>
                </c:pt>
                <c:pt idx="2">
                  <c:v>0.2074312714568732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912729229298351</c:v>
                </c:pt>
                <c:pt idx="1">
                  <c:v>0.07819725612137418</c:v>
                </c:pt>
                <c:pt idx="2">
                  <c:v>0.1404672164995061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591655735834456</c:v>
                </c:pt>
                <c:pt idx="1">
                  <c:v>0.06682169767823125</c:v>
                </c:pt>
                <c:pt idx="2">
                  <c:v>0.0182179412238969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91447624552164</c:v>
                </c:pt>
                <c:pt idx="1">
                  <c:v>0.0618104395529269</c:v>
                </c:pt>
                <c:pt idx="2">
                  <c:v>0.11947439624124331</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139557042126948</c:v>
                </c:pt>
                <c:pt idx="1">
                  <c:v>0.052557294663893694</c:v>
                </c:pt>
                <c:pt idx="2">
                  <c:v>0.09727884120677839</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57304165452228</c:v>
                </c:pt>
                <c:pt idx="1">
                  <c:v>0.041177901850618176</c:v>
                </c:pt>
                <c:pt idx="2">
                  <c:v>0.01300910572028055</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366134779485269</c:v>
                </c:pt>
                <c:pt idx="1">
                  <c:v>0.03475107363716077</c:v>
                </c:pt>
                <c:pt idx="2">
                  <c:v>0.0107976911167218</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2741903172090225</c:v>
                </c:pt>
                <c:pt idx="1">
                  <c:v>0.027482963681809455</c:v>
                </c:pt>
                <c:pt idx="2">
                  <c:v>0.007471719910233177</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105434381305031</c:v>
                </c:pt>
                <c:pt idx="1">
                  <c:v>0.01962636554632165</c:v>
                </c:pt>
                <c:pt idx="2">
                  <c:v>0.035135123260228766</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6212783691060186</c:v>
                </c:pt>
                <c:pt idx="1">
                  <c:v>0.015802996537927494</c:v>
                </c:pt>
                <c:pt idx="2">
                  <c:v>0.0286476684324595</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5338611833064902</c:v>
                </c:pt>
                <c:pt idx="1">
                  <c:v>0.015354472387889843</c:v>
                </c:pt>
                <c:pt idx="2">
                  <c:v>0.004757238308658389</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0586813667662189</c:v>
                </c:pt>
                <c:pt idx="1">
                  <c:v>0.0012506102493950399</c:v>
                </c:pt>
                <c:pt idx="2">
                  <c:v>0.0024500830138509573</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2.265333649333577e-08</c:v>
                </c:pt>
                <c:pt idx="2">
                  <c:v>6.126057110207108e-05</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3.808103979483168e-09</c:v>
                </c:pt>
                <c:pt idx="2">
                  <c:v>7.31473144866246e-08</c:v>
                </c:pt>
              </c:numCache>
            </c:numRef>
          </c:val>
          <c:extLst>
            <c:ext xmlns:c16="http://schemas.microsoft.com/office/drawing/2014/chart" uri="{C3380CC4-5D6E-409C-BE32-E72D297353CC}">
              <c16:uniqueId val="{00000000-C587-4D25-9FAB-90188F724A36}"/>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9.307690987945953e-06</c:v>
                </c:pt>
              </c:numCache>
            </c:numRef>
          </c:val>
          <c:extLst>
            <c:ext xmlns:c16="http://schemas.microsoft.com/office/drawing/2014/chart" uri="{C3380CC4-5D6E-409C-BE32-E72D297353CC}">
              <c16:uniqueId val="{00000000-C587-4D25-9FAB-90188F724A36}"/>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1.5446274575758894e-06</c:v>
                </c:pt>
              </c:numCache>
            </c:numRef>
          </c:val>
          <c:extLst>
            <c:ext xmlns:c16="http://schemas.microsoft.com/office/drawing/2014/chart" uri="{C3380CC4-5D6E-409C-BE32-E72D297353CC}">
              <c16:uniqueId val="{00000000-C587-4D25-9FAB-90188F724A36}"/>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1.3376815136741475e-06</c:v>
                </c:pt>
              </c:numCache>
            </c:numRef>
          </c:val>
          <c:extLst>
            <c:ext xmlns:c16="http://schemas.microsoft.com/office/drawing/2014/chart" uri="{C3380CC4-5D6E-409C-BE32-E72D297353CC}">
              <c16:uniqueId val="{00000000-C587-4D25-9FAB-90188F724A36}"/>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2.0176467579227287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674920776814183</c:v>
                </c:pt>
                <c:pt idx="1">
                  <c:v>0.1900613612073375</c:v>
                </c:pt>
                <c:pt idx="2">
                  <c:v>0.0579361866549332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952422640106434</c:v>
                </c:pt>
                <c:pt idx="1">
                  <c:v>0.15410925976378748</c:v>
                </c:pt>
                <c:pt idx="2">
                  <c:v>0.2678747761058266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472425519402274</c:v>
                </c:pt>
                <c:pt idx="1">
                  <c:v>0.0935150637088953</c:v>
                </c:pt>
                <c:pt idx="2">
                  <c:v>0.02781444996000352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275738604048306</c:v>
                </c:pt>
                <c:pt idx="1">
                  <c:v>0.08018534379194811</c:v>
                </c:pt>
                <c:pt idx="2">
                  <c:v>0.02354265551225941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391481303533599</c:v>
                </c:pt>
                <c:pt idx="1">
                  <c:v>0.08600827355652263</c:v>
                </c:pt>
                <c:pt idx="2">
                  <c:v>0.190884221319553</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670283027616801</c:v>
                </c:pt>
                <c:pt idx="1">
                  <c:v>0.06661685804224331</c:v>
                </c:pt>
                <c:pt idx="2">
                  <c:v>0.1191205113174729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425756708945965</c:v>
                </c:pt>
                <c:pt idx="1">
                  <c:v>0.06340092874484755</c:v>
                </c:pt>
                <c:pt idx="2">
                  <c:v>0.0167790074586162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065974910420372</c:v>
                </c:pt>
                <c:pt idx="1">
                  <c:v>0.06357407387060747</c:v>
                </c:pt>
                <c:pt idx="2">
                  <c:v>0.12351910183282458</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093523500785846</c:v>
                </c:pt>
                <c:pt idx="1">
                  <c:v>0.05245068911476767</c:v>
                </c:pt>
                <c:pt idx="2">
                  <c:v>0.0948663237786628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14593673771628</c:v>
                </c:pt>
                <c:pt idx="1">
                  <c:v>0.038215414276083784</c:v>
                </c:pt>
                <c:pt idx="2">
                  <c:v>0.01229602245870632</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642467891583585</c:v>
                </c:pt>
                <c:pt idx="1">
                  <c:v>0.024967794168037825</c:v>
                </c:pt>
                <c:pt idx="2">
                  <c:v>0.0075164743807794405</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4098729557711826</c:v>
                </c:pt>
                <c:pt idx="1">
                  <c:v>0.04129592284886506</c:v>
                </c:pt>
                <c:pt idx="2">
                  <c:v>0.01108033808973327</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251128473898506</c:v>
                </c:pt>
                <c:pt idx="1">
                  <c:v>0.011640970311325178</c:v>
                </c:pt>
                <c:pt idx="2">
                  <c:v>0.020504272431921086</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9859709400224643</c:v>
                </c:pt>
                <c:pt idx="1">
                  <c:v>0.00959764180790025</c:v>
                </c:pt>
                <c:pt idx="2">
                  <c:v>0.01727902059056711</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310967633693977</c:v>
                </c:pt>
                <c:pt idx="1">
                  <c:v>0.023489365575964222</c:v>
                </c:pt>
                <c:pt idx="2">
                  <c:v>0.007240041488371922</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736148376442318</c:v>
                </c:pt>
                <c:pt idx="1">
                  <c:v>0.000871026795955328</c:v>
                </c:pt>
                <c:pt idx="2">
                  <c:v>0.0017056306616168857</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1.0157654758684342e-08</c:v>
                </c:pt>
                <c:pt idx="2">
                  <c:v>3.3906595820010094e-05</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2.257256613040965e-09</c:v>
                </c:pt>
                <c:pt idx="2">
                  <c:v>4.540906002473795e-08</c:v>
                </c:pt>
              </c:numCache>
            </c:numRef>
          </c:val>
          <c:extLst>
            <c:ext xmlns:c16="http://schemas.microsoft.com/office/drawing/2014/chart" uri="{C3380CC4-5D6E-409C-BE32-E72D297353CC}">
              <c16:uniqueId val="{00000000-E8ED-4355-AB33-141417161D1C}"/>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5.515454290697017e-06</c:v>
                </c:pt>
              </c:numCache>
            </c:numRef>
          </c:val>
          <c:extLst>
            <c:ext xmlns:c16="http://schemas.microsoft.com/office/drawing/2014/chart" uri="{C3380CC4-5D6E-409C-BE32-E72D297353CC}">
              <c16:uniqueId val="{00000000-E8ED-4355-AB33-141417161D1C}"/>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6.916149142229318e-07</c:v>
                </c:pt>
              </c:numCache>
            </c:numRef>
          </c:val>
          <c:extLst>
            <c:ext xmlns:c16="http://schemas.microsoft.com/office/drawing/2014/chart" uri="{C3380CC4-5D6E-409C-BE32-E72D297353CC}">
              <c16:uniqueId val="{00000000-E8ED-4355-AB33-141417161D1C}"/>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6.427128495809063e-07</c:v>
                </c:pt>
              </c:numCache>
            </c:numRef>
          </c:val>
          <c:extLst>
            <c:ext xmlns:c16="http://schemas.microsoft.com/office/drawing/2014/chart" uri="{C3380CC4-5D6E-409C-BE32-E72D297353CC}">
              <c16:uniqueId val="{00000000-E8ED-4355-AB33-141417161D1C}"/>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1.641712170125141e-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990336478473914</c:v>
                </c:pt>
                <c:pt idx="1">
                  <c:v>0.17818595924681568</c:v>
                </c:pt>
                <c:pt idx="2">
                  <c:v>0.009192518974411989</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1636826371677957</c:v>
                </c:pt>
                <c:pt idx="1">
                  <c:v>0.11554509988980642</c:v>
                </c:pt>
                <c:pt idx="2">
                  <c:v>0.2298958030696440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92243847686602</c:v>
                </c:pt>
                <c:pt idx="1">
                  <c:v>0.09810091012908308</c:v>
                </c:pt>
                <c:pt idx="2">
                  <c:v>0.00462009534367048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alade</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10%</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916109188134152</c:v>
                </c:pt>
                <c:pt idx="1">
                  <c:v>0.10012325552762498</c:v>
                </c:pt>
                <c:pt idx="2">
                  <c:v>0.2506436170499682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peciali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881738443206599</c:v>
                </c:pt>
                <c:pt idx="1">
                  <c:v>0.08838413555083165</c:v>
                </c:pt>
                <c:pt idx="2">
                  <c:v>0.00511030977513274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812337700743288</c:v>
                </c:pt>
                <c:pt idx="1">
                  <c:v>0.07792035883593511</c:v>
                </c:pt>
                <c:pt idx="2">
                  <c:v>0.1555015397096888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612219188841643</c:v>
                </c:pt>
                <c:pt idx="1">
                  <c:v>0.06826906121356785</c:v>
                </c:pt>
                <c:pt idx="2">
                  <c:v>0.00848500633606703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9855837901962604</c:v>
                </c:pt>
                <c:pt idx="1">
                  <c:v>0.06193390613257268</c:v>
                </c:pt>
                <c:pt idx="2">
                  <c:v>0.1343647787775457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5797217652409824</c:v>
                </c:pt>
                <c:pt idx="1">
                  <c:v>0.056721494054309526</c:v>
                </c:pt>
                <c:pt idx="2">
                  <c:v>0.1175651570591622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399115336782086</c:v>
                </c:pt>
                <c:pt idx="1">
                  <c:v>0.04322682904188625</c:v>
                </c:pt>
                <c:pt idx="2">
                  <c:v>0.0017565818367850446</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3615972841192764</c:v>
                </c:pt>
                <c:pt idx="1">
                  <c:v>0.0351390611888033</c:v>
                </c:pt>
                <c:pt idx="2">
                  <c:v>0.0017505721635024004</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23989726059460034</c:v>
                </c:pt>
                <c:pt idx="1">
                  <c:v>0.0240394566010102</c:v>
                </c:pt>
                <c:pt idx="2">
                  <c:v>0.0011920619130729952</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2085487995412535</c:v>
                </c:pt>
                <c:pt idx="1">
                  <c:v>0.02117652838332763</c:v>
                </c:pt>
                <c:pt idx="2">
                  <c:v>0.04422543031411384</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5067923128282578</c:v>
                </c:pt>
                <c:pt idx="1">
                  <c:v>0.015182928575857024</c:v>
                </c:pt>
                <c:pt idx="2">
                  <c:v>0.030333736197530572</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445622102679661</c:v>
                </c:pt>
                <c:pt idx="1">
                  <c:v>0.014094845688879464</c:v>
                </c:pt>
                <c:pt idx="2">
                  <c:v>0.0008631933470454182</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520186087897684</c:v>
                </c:pt>
                <c:pt idx="1">
                  <c:v>0.001956169939689177</c:v>
                </c:pt>
                <c:pt idx="2">
                  <c:v>0.0044995981326583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316174</c:v>
                </c:pt>
                <c:pt idx="1">
                  <c:v>23.815442</c:v>
                </c:pt>
                <c:pt idx="2">
                  <c:v>1.7296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el</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0448</c:v>
                </c:pt>
                <c:pt idx="1">
                  <c:v>1.95599</c:v>
                </c:pt>
                <c:pt idx="2">
                  <c:v>0.0660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010848</c:v>
                </c:pt>
                <c:pt idx="1">
                  <c:v>10.818048</c:v>
                </c:pt>
                <c:pt idx="2">
                  <c:v>1.3763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798778934872934</c:v>
                </c:pt>
                <c:pt idx="1">
                  <c:v>0.18759579642288035</c:v>
                </c:pt>
                <c:pt idx="2">
                  <c:v>0.009869676921273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602154517632136</c:v>
                </c:pt>
                <c:pt idx="1">
                  <c:v>0.15279327503261259</c:v>
                </c:pt>
                <c:pt idx="2">
                  <c:v>0.30224370630173264</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836301730004874</c:v>
                </c:pt>
                <c:pt idx="1">
                  <c:v>0.08676601235600832</c:v>
                </c:pt>
                <c:pt idx="2">
                  <c:v>0.00398497188369761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alade</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9456772762371733</c:v>
                </c:pt>
                <c:pt idx="1">
                  <c:v>0.09544941807720213</c:v>
                </c:pt>
                <c:pt idx="2">
                  <c:v>0.2297352148280421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peciali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839249841948424</c:v>
                </c:pt>
                <c:pt idx="1">
                  <c:v>0.07763602061491807</c:v>
                </c:pt>
                <c:pt idx="2">
                  <c:v>0.00414981259154461</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441702657571564</c:v>
                </c:pt>
                <c:pt idx="1">
                  <c:v>0.06447680293801618</c:v>
                </c:pt>
                <c:pt idx="2">
                  <c:v>0.12933753315943633</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448780786594509</c:v>
                </c:pt>
                <c:pt idx="1">
                  <c:v>0.06454899623129443</c:v>
                </c:pt>
                <c:pt idx="2">
                  <c:v>0.007898761980589421</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858837215660085</c:v>
                </c:pt>
                <c:pt idx="1">
                  <c:v>0.062379303592836534</c:v>
                </c:pt>
                <c:pt idx="2">
                  <c:v>0.137320137619463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873520697357512</c:v>
                </c:pt>
                <c:pt idx="1">
                  <c:v>0.05987037511106524</c:v>
                </c:pt>
                <c:pt idx="2">
                  <c:v>0.121931002799347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0765159988478954</c:v>
                </c:pt>
                <c:pt idx="1">
                  <c:v>0.04101984584721316</c:v>
                </c:pt>
                <c:pt idx="2">
                  <c:v>0.0016675365544149019</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6346555150582308</c:v>
                </c:pt>
                <c:pt idx="1">
                  <c:v>0.025714972506381235</c:v>
                </c:pt>
                <c:pt idx="2">
                  <c:v>0.0012645087006897485</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3604129667111971</c:v>
                </c:pt>
                <c:pt idx="1">
                  <c:v>0.036740410731689925</c:v>
                </c:pt>
                <c:pt idx="2">
                  <c:v>0.0018654762897193364</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13036036562263329</c:v>
                </c:pt>
                <c:pt idx="1">
                  <c:v>0.012587804128849835</c:v>
                </c:pt>
                <c:pt idx="2">
                  <c:v>0.02619482203345121</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8919359150258491</c:v>
                </c:pt>
                <c:pt idx="1">
                  <c:v>0.008958071212060546</c:v>
                </c:pt>
                <c:pt idx="2">
                  <c:v>0.017958953380057582</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226765452521855</c:v>
                </c:pt>
                <c:pt idx="1">
                  <c:v>0.02205540678382278</c:v>
                </c:pt>
                <c:pt idx="2">
                  <c:v>0.001382029125935985</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1062946511940968</c:v>
                </c:pt>
                <c:pt idx="1">
                  <c:v>0.0014074884131486565</c:v>
                </c:pt>
                <c:pt idx="2">
                  <c:v>0.00319585583060385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838742969529529</c:v>
                </c:pt>
                <c:pt idx="1">
                  <c:v>0.1892698374236848</c:v>
                </c:pt>
                <c:pt idx="2">
                  <c:v>0.1834082458593045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2217494179414477</c:v>
                </c:pt>
                <c:pt idx="1">
                  <c:v>0.11771916432252667</c:v>
                </c:pt>
                <c:pt idx="2">
                  <c:v>0.1135702737767949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0644957359600826</c:v>
                </c:pt>
                <c:pt idx="1">
                  <c:v>0.10539102432752251</c:v>
                </c:pt>
                <c:pt idx="2">
                  <c:v>0.1088925591396089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9%</a:t>
                    </a:r>
                  </a:p>
                </c:rich>
              </c:tx>
              <c:showLegendKey val="0"/>
              <c:showVal val="1"/>
              <c:showCatName val="0"/>
              <c:showSerName val="0"/>
              <c:showPercent val="0"/>
              <c:showBubbleSize val="0"/>
            </c:dLbl>
            <c:dLbl>
              <c:idx val="1"/>
              <c:tx>
                <c:rich>
                  <a:bodyPr/>
                  <a:lstStyle/>
                  <a:p>
                    <a:r>
                      <a:rPr sz="800">
                        <a:solidFill>
                          <a:srgbClr val="FFFFFF"/>
                        </a:solidFill>
                        <a:latin typeface="Nexa Book"/>
                      </a:rPr>
                      <a:t>9%</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729066517503753</c:v>
                </c:pt>
                <c:pt idx="1">
                  <c:v>0.08709580278180772</c:v>
                </c:pt>
                <c:pt idx="2">
                  <c:v>0.08261718991005501</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440254023931003</c:v>
                </c:pt>
                <c:pt idx="1">
                  <c:v>0.07758306606143693</c:v>
                </c:pt>
                <c:pt idx="2">
                  <c:v>0.0988842754975253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7422440711937145</c:v>
                </c:pt>
                <c:pt idx="1">
                  <c:v>0.07232640259572891</c:v>
                </c:pt>
                <c:pt idx="2">
                  <c:v>0.0710495531765265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50889419195406</c:v>
                </c:pt>
                <c:pt idx="1">
                  <c:v>0.06577272926992472</c:v>
                </c:pt>
                <c:pt idx="2">
                  <c:v>0.04721833588646297</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309248766922337</c:v>
                </c:pt>
                <c:pt idx="1">
                  <c:v>0.0647793379585507</c:v>
                </c:pt>
                <c:pt idx="2">
                  <c:v>0.0691018222274680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5361646929414134</c:v>
                </c:pt>
                <c:pt idx="1">
                  <c:v>0.05456438503720797</c:v>
                </c:pt>
                <c:pt idx="2">
                  <c:v>0.0556460264864343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4353624883594925</c:v>
                </c:pt>
                <c:pt idx="1">
                  <c:v>0.043638157642278366</c:v>
                </c:pt>
                <c:pt idx="2">
                  <c:v>0.04697701752098346</c:v>
                </c:pt>
              </c:numCache>
            </c:numRef>
          </c:val>
          <c:extLst>
            <c:ext xmlns:c16="http://schemas.microsoft.com/office/drawing/2014/chart" uri="{C3380CC4-5D6E-409C-BE32-E72D297353CC}">
              <c16:uniqueId val="{00000000-C587-4D25-9FAB-90188F724A3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4103266136591986</c:v>
                </c:pt>
                <c:pt idx="1">
                  <c:v>0.03838557268045682</c:v>
                </c:pt>
                <c:pt idx="2">
                  <c:v>0.03790888807591316</c:v>
                </c:pt>
              </c:numCache>
            </c:numRef>
          </c:val>
          <c:extLst>
            <c:ext xmlns:c16="http://schemas.microsoft.com/office/drawing/2014/chart" uri="{C3380CC4-5D6E-409C-BE32-E72D297353CC}">
              <c16:uniqueId val="{00000000-C587-4D25-9FAB-90188F724A36}"/>
            </c:ext>
          </c:extLst>
        </c:ser>
        <c:ser>
          <c:idx val="11"/>
          <c:order val="11"/>
          <c:tx>
            <c:strRef>
              <c:f>Sheet1!$M$1</c:f>
              <c:strCache>
                <c:ptCount val="1"/>
                <c:pt idx="0">
                  <c:v>Aperitif</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28387428674489158</c:v>
                </c:pt>
                <c:pt idx="1">
                  <c:v>0.02620436054488339</c:v>
                </c:pt>
                <c:pt idx="2">
                  <c:v>0.02636669562097036</c:v>
                </c:pt>
              </c:numCache>
            </c:numRef>
          </c:val>
          <c:extLst>
            <c:ext xmlns:c16="http://schemas.microsoft.com/office/drawing/2014/chart" uri="{C3380CC4-5D6E-409C-BE32-E72D297353CC}">
              <c16:uniqueId val="{00000000-C587-4D25-9FAB-90188F724A36}"/>
            </c:ext>
          </c:extLst>
        </c:ser>
        <c:ser>
          <c:idx val="12"/>
          <c:order val="12"/>
          <c:tx>
            <c:strRef>
              <c:f>Sheet1!$N$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25186419105391232</c:v>
                </c:pt>
                <c:pt idx="1">
                  <c:v>0.025579663591446814</c:v>
                </c:pt>
                <c:pt idx="2">
                  <c:v>0.025765930521349553</c:v>
                </c:pt>
              </c:numCache>
            </c:numRef>
          </c:val>
          <c:extLst>
            <c:ext xmlns:c16="http://schemas.microsoft.com/office/drawing/2014/chart" uri="{C3380CC4-5D6E-409C-BE32-E72D297353CC}">
              <c16:uniqueId val="{00000000-C587-4D25-9FAB-90188F724A3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15820087574141405</c:v>
                </c:pt>
                <c:pt idx="1">
                  <c:v>0.015091448665896996</c:v>
                </c:pt>
                <c:pt idx="2">
                  <c:v>0.014782294313837941</c:v>
                </c:pt>
              </c:numCache>
            </c:numRef>
          </c:val>
          <c:extLst>
            <c:ext xmlns:c16="http://schemas.microsoft.com/office/drawing/2014/chart" uri="{C3380CC4-5D6E-409C-BE32-E72D297353CC}">
              <c16:uniqueId val="{00000000-C587-4D25-9FAB-90188F724A3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15391394730888656</c:v>
                </c:pt>
                <c:pt idx="1">
                  <c:v>0.015592177201275165</c:v>
                </c:pt>
                <c:pt idx="2">
                  <c:v>0.016194926417963523</c:v>
                </c:pt>
              </c:numCache>
            </c:numRef>
          </c:val>
          <c:extLst>
            <c:ext xmlns:c16="http://schemas.microsoft.com/office/drawing/2014/chart" uri="{C3380CC4-5D6E-409C-BE32-E72D297353CC}">
              <c16:uniqueId val="{00000000-C587-4D25-9FAB-90188F724A3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43143595349019433</c:v>
                </c:pt>
                <c:pt idx="1">
                  <c:v>0.001006670196024774</c:v>
                </c:pt>
                <c:pt idx="2">
                  <c:v>0.0013196217739017849</c:v>
                </c:pt>
              </c:numCache>
            </c:numRef>
          </c:val>
          <c:extLst>
            <c:ext xmlns:c16="http://schemas.microsoft.com/office/drawing/2014/chart" uri="{C3380CC4-5D6E-409C-BE32-E72D297353CC}">
              <c16:uniqueId val="{00000000-C587-4D25-9FAB-90188F724A36}"/>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1.7352152973840174e-07</c:v>
                </c:pt>
                <c:pt idx="2">
                  <c:v>0.0002463284820331818</c:v>
                </c:pt>
              </c:numCache>
            </c:numRef>
          </c:val>
          <c:extLst>
            <c:ext xmlns:c16="http://schemas.microsoft.com/office/drawing/2014/chart" uri="{C3380CC4-5D6E-409C-BE32-E72D297353CC}">
              <c16:uniqueId val="{00000000-C587-4D25-9FAB-90188F724A36}"/>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2.6177816986396815e-08</c:v>
                </c:pt>
                <c:pt idx="2">
                  <c:v>4.3662215253536434e-07</c:v>
                </c:pt>
              </c:numCache>
            </c:numRef>
          </c:val>
          <c:extLst>
            <c:ext xmlns:c16="http://schemas.microsoft.com/office/drawing/2014/chart" uri="{C3380CC4-5D6E-409C-BE32-E72D297353CC}">
              <c16:uniqueId val="{00000000-C587-4D25-9FAB-90188F724A36}"/>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3.742563197926023e-05</c:v>
                </c:pt>
              </c:numCache>
            </c:numRef>
          </c:val>
          <c:extLst>
            <c:ext xmlns:c16="http://schemas.microsoft.com/office/drawing/2014/chart" uri="{C3380CC4-5D6E-409C-BE32-E72D297353CC}">
              <c16:uniqueId val="{00000000-C587-4D25-9FAB-90188F724A36}"/>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5.923834260521938e-06</c:v>
                </c:pt>
              </c:numCache>
            </c:numRef>
          </c:val>
          <c:extLst>
            <c:ext xmlns:c16="http://schemas.microsoft.com/office/drawing/2014/chart" uri="{C3380CC4-5D6E-409C-BE32-E72D297353CC}">
              <c16:uniqueId val="{00000000-C587-4D25-9FAB-90188F724A36}"/>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5.379283036573337e-06</c:v>
                </c:pt>
              </c:numCache>
            </c:numRef>
          </c:val>
          <c:extLst>
            <c:ext xmlns:c16="http://schemas.microsoft.com/office/drawing/2014/chart" uri="{C3380CC4-5D6E-409C-BE32-E72D297353CC}">
              <c16:uniqueId val="{00000000-C587-4D25-9FAB-90188F724A36}"/>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0%</a:t>
                    </a:r>
                  </a:p>
                </c:rich>
              </c:tx>
              <c:showLegendKey val="0"/>
              <c:showVal val="1"/>
              <c:showCatName val="0"/>
              <c:showSerName val="0"/>
              <c:showPercent val="0"/>
              <c:showBubbleSize val="0"/>
            </c:dLbl>
            <c:dLbl>
              <c:idx val="1"/>
              <c:tx>
                <c:rich>
                  <a:bodyPr/>
                  <a:lstStyle/>
                  <a:p>
                    <a:r>
                      <a:rPr sz="800">
                        <a:solidFill>
                          <a:srgbClr val="FFFFFF"/>
                        </a:solidFill>
                        <a:latin typeface="Nexa Book"/>
                      </a:rPr>
                      <a:t>0%</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8.499414373792345e-0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995459077797448</c:v>
                </c:pt>
                <c:pt idx="1">
                  <c:v>0.20469969812485775</c:v>
                </c:pt>
                <c:pt idx="2">
                  <c:v>0.2010745257666356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5783558526599403</c:v>
                </c:pt>
                <c:pt idx="1">
                  <c:v>0.14822956942671572</c:v>
                </c:pt>
                <c:pt idx="2">
                  <c:v>0.143392770932268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9572608870111728</c:v>
                </c:pt>
                <c:pt idx="1">
                  <c:v>0.09528633220616392</c:v>
                </c:pt>
                <c:pt idx="2">
                  <c:v>0.09811859121005106</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8610553881273707</c:v>
                </c:pt>
                <c:pt idx="1">
                  <c:v>0.08492614922200487</c:v>
                </c:pt>
                <c:pt idx="2">
                  <c:v>0.0813937421004931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7444459248603588</c:v>
                </c:pt>
                <c:pt idx="1">
                  <c:v>0.07623206874101225</c:v>
                </c:pt>
                <c:pt idx="2">
                  <c:v>0.0934185437034466</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636033630043683</c:v>
                </c:pt>
                <c:pt idx="1">
                  <c:v>0.06314905506676548</c:v>
                </c:pt>
                <c:pt idx="2">
                  <c:v>0.0630705113709073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2370169702892844</c:v>
                </c:pt>
                <c:pt idx="1">
                  <c:v>0.06178780448827644</c:v>
                </c:pt>
                <c:pt idx="2">
                  <c:v>0.0440505498319738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610994352768532</c:v>
                </c:pt>
                <c:pt idx="1">
                  <c:v>0.06319487706813817</c:v>
                </c:pt>
                <c:pt idx="2">
                  <c:v>0.0670599722673622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4854334046516626</c:v>
                </c:pt>
                <c:pt idx="1">
                  <c:v>0.04987249561279474</c:v>
                </c:pt>
                <c:pt idx="2">
                  <c:v>0.05017010169218174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677480015373564</c:v>
                </c:pt>
                <c:pt idx="1">
                  <c:v>0.039676893292979666</c:v>
                </c:pt>
                <c:pt idx="2">
                  <c:v>0.04434724347748345</c:v>
                </c:pt>
              </c:numCache>
            </c:numRef>
          </c:val>
          <c:extLst>
            <c:ext xmlns:c16="http://schemas.microsoft.com/office/drawing/2014/chart" uri="{C3380CC4-5D6E-409C-BE32-E72D297353CC}">
              <c16:uniqueId val="{00000000-E8ED-4355-AB33-141417161D1C}"/>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7899556059422074</c:v>
                </c:pt>
                <c:pt idx="1">
                  <c:v>0.026189043968766312</c:v>
                </c:pt>
                <c:pt idx="2">
                  <c:v>0.026253741364228405</c:v>
                </c:pt>
              </c:numCache>
            </c:numRef>
          </c:val>
          <c:extLst>
            <c:ext xmlns:c16="http://schemas.microsoft.com/office/drawing/2014/chart" uri="{C3380CC4-5D6E-409C-BE32-E72D297353CC}">
              <c16:uniqueId val="{00000000-E8ED-4355-AB33-141417161D1C}"/>
            </c:ext>
          </c:extLst>
        </c:ser>
        <c:ser>
          <c:idx val="11"/>
          <c:order val="11"/>
          <c:tx>
            <c:strRef>
              <c:f>Sheet1!$M$1</c:f>
              <c:strCache>
                <c:ptCount val="1"/>
                <c:pt idx="0">
                  <c:v>Aperitif</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16672258911987595</c:v>
                </c:pt>
                <c:pt idx="1">
                  <c:v>0.015715053767847355</c:v>
                </c:pt>
                <c:pt idx="2">
                  <c:v>0.01509208042114342</c:v>
                </c:pt>
              </c:numCache>
            </c:numRef>
          </c:val>
          <c:extLst>
            <c:ext xmlns:c16="http://schemas.microsoft.com/office/drawing/2014/chart" uri="{C3380CC4-5D6E-409C-BE32-E72D297353CC}">
              <c16:uniqueId val="{00000000-E8ED-4355-AB33-141417161D1C}"/>
            </c:ext>
          </c:extLst>
        </c:ser>
        <c:ser>
          <c:idx val="12"/>
          <c:order val="12"/>
          <c:tx>
            <c:strRef>
              <c:f>Sheet1!$N$1</c:f>
              <c:strCache>
                <c:ptCount val="1"/>
                <c:pt idx="0">
                  <c:v>Ingredient A Chau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3691485070709393</c:v>
                </c:pt>
                <c:pt idx="1">
                  <c:v>0.03796373515167112</c:v>
                </c:pt>
                <c:pt idx="2">
                  <c:v>0.038020457641113024</c:v>
                </c:pt>
              </c:numCache>
            </c:numRef>
          </c:val>
          <c:extLst>
            <c:ext xmlns:c16="http://schemas.microsoft.com/office/drawing/2014/chart" uri="{C3380CC4-5D6E-409C-BE32-E72D297353CC}">
              <c16:uniqueId val="{00000000-E8ED-4355-AB33-141417161D1C}"/>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09306355592860279</c:v>
                </c:pt>
                <c:pt idx="1">
                  <c:v>0.00894679012824592</c:v>
                </c:pt>
                <c:pt idx="2">
                  <c:v>0.008836382696376701</c:v>
                </c:pt>
              </c:numCache>
            </c:numRef>
          </c:val>
          <c:extLst>
            <c:ext xmlns:c16="http://schemas.microsoft.com/office/drawing/2014/chart" uri="{C3380CC4-5D6E-409C-BE32-E72D297353CC}">
              <c16:uniqueId val="{00000000-E8ED-4355-AB33-141417161D1C}"/>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0.02289505659519911</c:v>
                </c:pt>
                <c:pt idx="1">
                  <c:v>0.023468004586864297</c:v>
                </c:pt>
                <c:pt idx="2">
                  <c:v>0.0246467770011938</c:v>
                </c:pt>
              </c:numCache>
            </c:numRef>
          </c:val>
          <c:extLst>
            <c:ext xmlns:c16="http://schemas.microsoft.com/office/drawing/2014/chart" uri="{C3380CC4-5D6E-409C-BE32-E72D297353CC}">
              <c16:uniqueId val="{00000000-E8ED-4355-AB33-141417161D1C}"/>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002631004847917208</c:v>
                </c:pt>
                <c:pt idx="1">
                  <c:v>0.0006623531007937599</c:v>
                </c:pt>
                <c:pt idx="2">
                  <c:v>0.0008909504301013065</c:v>
                </c:pt>
              </c:numCache>
            </c:numRef>
          </c:val>
          <c:extLst>
            <c:ext xmlns:c16="http://schemas.microsoft.com/office/drawing/2014/chart" uri="{C3380CC4-5D6E-409C-BE32-E72D297353CC}">
              <c16:uniqueId val="{00000000-E8ED-4355-AB33-141417161D1C}"/>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6.759653530916429e-08</c:v>
                </c:pt>
                <c:pt idx="2">
                  <c:v>0.00013541661188506558</c:v>
                </c:pt>
              </c:numCache>
            </c:numRef>
          </c:val>
          <c:extLst>
            <c:ext xmlns:c16="http://schemas.microsoft.com/office/drawing/2014/chart" uri="{C3380CC4-5D6E-409C-BE32-E72D297353CC}">
              <c16:uniqueId val="{00000000-E8ED-4355-AB33-141417161D1C}"/>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8.449566913645536e-09</c:v>
                </c:pt>
                <c:pt idx="2">
                  <c:v>1.963372583254886e-07</c:v>
                </c:pt>
              </c:numCache>
            </c:numRef>
          </c:val>
          <c:extLst>
            <c:ext xmlns:c16="http://schemas.microsoft.com/office/drawing/2014/chart" uri="{C3380CC4-5D6E-409C-BE32-E72D297353CC}">
              <c16:uniqueId val="{00000000-E8ED-4355-AB33-141417161D1C}"/>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2.1723315224727274e-05</c:v>
                </c:pt>
              </c:numCache>
            </c:numRef>
          </c:val>
          <c:extLst>
            <c:ext xmlns:c16="http://schemas.microsoft.com/office/drawing/2014/chart" uri="{C3380CC4-5D6E-409C-BE32-E72D297353CC}">
              <c16:uniqueId val="{00000000-E8ED-4355-AB33-141417161D1C}"/>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2.53836026835096e-06</c:v>
                </c:pt>
              </c:numCache>
            </c:numRef>
          </c:val>
          <c:extLst>
            <c:ext xmlns:c16="http://schemas.microsoft.com/office/drawing/2014/chart" uri="{C3380CC4-5D6E-409C-BE32-E72D297353CC}">
              <c16:uniqueId val="{00000000-E8ED-4355-AB33-141417161D1C}"/>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2.510312088590176e-06</c:v>
                </c:pt>
              </c:numCache>
            </c:numRef>
          </c:val>
          <c:extLst>
            <c:ext xmlns:c16="http://schemas.microsoft.com/office/drawing/2014/chart" uri="{C3380CC4-5D6E-409C-BE32-E72D297353CC}">
              <c16:uniqueId val="{00000000-E8ED-4355-AB33-141417161D1C}"/>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6.731563142588181e-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33</c:v>
                </c:pt>
                <c:pt idx="1">
                  <c:v>1301.283848</c:v>
                </c:pt>
                <c:pt idx="2">
                  <c:v>59.466859</c:v>
                </c:pt>
                <c:pt idx="3">
                  <c:v>54.700438</c:v>
                </c:pt>
                <c:pt idx="4">
                  <c:v>40.276411</c:v>
                </c:pt>
                <c:pt idx="5">
                  <c:v>27.881793</c:v>
                </c:pt>
                <c:pt idx="6">
                  <c:v>19.122785</c:v>
                </c:pt>
                <c:pt idx="7">
                  <c:v>12.511972</c:v>
                </c:pt>
                <c:pt idx="8">
                  <c:v>8.130613</c:v>
                </c:pt>
                <c:pt idx="9">
                  <c:v>5.680348</c:v>
                </c:pt>
                <c:pt idx="10">
                  <c:v>5.422608</c:v>
                </c:pt>
                <c:pt idx="11">
                  <c:v>3.434821</c:v>
                </c:pt>
                <c:pt idx="12">
                  <c:v>0.030539</c:v>
                </c:pt>
                <c:pt idx="13">
                  <c:v>0.0058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1.56</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9.86</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6</a:t>
                    </a:r>
                  </a:p>
                </c:rich>
              </c:tx>
              <c:dLblPos val="t"/>
              <c:showLegendKey val="0"/>
              <c:showVal val="1"/>
              <c:showCatName val="0"/>
              <c:showSerName val="0"/>
              <c:showPercent val="0"/>
              <c:showBubbleSize val="0"/>
            </c:dLbl>
            <c:dLbl>
              <c:idx val="6"/>
              <c:tx>
                <c:rich>
                  <a:bodyPr/>
                  <a:lstStyle/>
                  <a:p>
                    <a:r>
                      <a:t>12.16</a:t>
                    </a:r>
                  </a:p>
                </c:rich>
              </c:tx>
              <c:dLblPos val="t"/>
              <c:showLegendKey val="0"/>
              <c:showVal val="1"/>
              <c:showCatName val="0"/>
              <c:showSerName val="0"/>
              <c:showPercent val="0"/>
              <c:showBubbleSize val="0"/>
            </c:dLbl>
            <c:dLbl>
              <c:idx val="7"/>
              <c:tx>
                <c:rich>
                  <a:bodyPr/>
                  <a:lstStyle/>
                  <a:p>
                    <a:r>
                      <a:t>16.42</a:t>
                    </a:r>
                  </a:p>
                </c:rich>
              </c:tx>
              <c:dLblPos val="t"/>
              <c:showLegendKey val="0"/>
              <c:showVal val="1"/>
              <c:showCatName val="0"/>
              <c:showSerName val="0"/>
              <c:showPercent val="0"/>
              <c:showBubbleSize val="0"/>
            </c:dLbl>
            <c:dLbl>
              <c:idx val="8"/>
              <c:tx>
                <c:rich>
                  <a:bodyPr/>
                  <a:lstStyle/>
                  <a:p>
                    <a:r>
                      <a:t>7.72</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4</a:t>
                    </a:r>
                  </a:p>
                </c:rich>
              </c:tx>
              <c:dLblPos val="t"/>
              <c:showLegendKey val="0"/>
              <c:showVal val="1"/>
              <c:showCatName val="0"/>
              <c:showSerName val="0"/>
              <c:showPercent val="0"/>
              <c:showBubbleSize val="0"/>
            </c:dLbl>
            <c:dLbl>
              <c:idx val="11"/>
              <c:tx>
                <c:rich>
                  <a:bodyPr/>
                  <a:lstStyle/>
                  <a:p>
                    <a:r>
                      <a:t>16.58</a:t>
                    </a:r>
                  </a:p>
                </c:rich>
              </c:tx>
              <c:dLblPos val="t"/>
              <c:showLegendKey val="0"/>
              <c:showVal val="1"/>
              <c:showCatName val="0"/>
              <c:showSerName val="0"/>
              <c:showPercent val="0"/>
              <c:showBubbleSize val="0"/>
            </c:dLbl>
            <c:dLbl>
              <c:idx val="12"/>
              <c:tx>
                <c:rich>
                  <a:bodyPr/>
                  <a:lstStyle/>
                  <a:p>
                    <a:r>
                      <a:t>19.34</a:t>
                    </a:r>
                  </a:p>
                </c:rich>
              </c:tx>
              <c:dLblPos val="t"/>
              <c:showLegendKey val="0"/>
              <c:showVal val="1"/>
              <c:showCatName val="0"/>
              <c:showSerName val="0"/>
              <c:showPercent val="0"/>
              <c:showBubbleSize val="0"/>
            </c:dLbl>
            <c:dLbl>
              <c:idx val="13"/>
              <c:tx>
                <c:rich>
                  <a:bodyPr/>
                  <a:lstStyle/>
                  <a:p>
                    <a:r>
                      <a:t>24.4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3.6667</c:v>
                </c:pt>
                <c:pt idx="1">
                  <c:v>11.5603</c:v>
                </c:pt>
                <c:pt idx="2">
                  <c:v>10.4883</c:v>
                </c:pt>
                <c:pt idx="3">
                  <c:v>19.8611</c:v>
                </c:pt>
                <c:pt idx="4">
                  <c:v>12.74</c:v>
                </c:pt>
                <c:pt idx="5">
                  <c:v>11.5577</c:v>
                </c:pt>
                <c:pt idx="6">
                  <c:v>12.1551</c:v>
                </c:pt>
                <c:pt idx="7">
                  <c:v>16.4209</c:v>
                </c:pt>
                <c:pt idx="8">
                  <c:v>7.7223</c:v>
                </c:pt>
                <c:pt idx="9">
                  <c:v>7.5266</c:v>
                </c:pt>
                <c:pt idx="10">
                  <c:v>12.9422</c:v>
                </c:pt>
                <c:pt idx="11">
                  <c:v>16.5803</c:v>
                </c:pt>
                <c:pt idx="12">
                  <c:v>19.3407</c:v>
                </c:pt>
                <c:pt idx="13">
                  <c:v>24.46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0</a:t>
                    </a:r>
                  </a:p>
                </c:rich>
              </c:tx>
              <c:dLblPos val="ctr"/>
              <c:showLegendKey val="0"/>
              <c:showVal val="1"/>
              <c:showCatName val="0"/>
              <c:showSerName val="0"/>
              <c:showPercent val="0"/>
              <c:showBubbleSize val="0"/>
            </c:dLbl>
            <c:dLbl>
              <c:idx val="2"/>
              <c:tx>
                <c:rich>
                  <a:bodyPr/>
                  <a:lstStyle/>
                  <a:p>
                    <a:r>
                      <a:t>14</a:t>
                    </a:r>
                  </a:p>
                </c:rich>
              </c:tx>
              <c:dLblPos val="ctr"/>
              <c:showLegendKey val="0"/>
              <c:showVal val="1"/>
              <c:showCatName val="0"/>
              <c:showSerName val="0"/>
              <c:showPercent val="0"/>
              <c:showBubbleSize val="0"/>
            </c:dLbl>
            <c:dLbl>
              <c:idx val="3"/>
              <c:tx>
                <c:rich>
                  <a:bodyPr/>
                  <a:lstStyle/>
                  <a:p>
                    <a:r>
                      <a:t>107</a:t>
                    </a:r>
                  </a:p>
                </c:rich>
              </c:tx>
              <c:dLblPos val="ctr"/>
              <c:showLegendKey val="0"/>
              <c:showVal val="1"/>
              <c:showCatName val="0"/>
              <c:showSerName val="0"/>
              <c:showPercent val="0"/>
              <c:showBubbleSize val="0"/>
            </c:dLbl>
            <c:dLbl>
              <c:idx val="4"/>
              <c:tx>
                <c:rich>
                  <a:bodyPr/>
                  <a:lstStyle/>
                  <a:p>
                    <a:r>
                      <a:t>15</a:t>
                    </a:r>
                  </a:p>
                </c:rich>
              </c:tx>
              <c:dLblPos val="ctr"/>
              <c:showLegendKey val="0"/>
              <c:showVal val="1"/>
              <c:showCatName val="0"/>
              <c:showSerName val="0"/>
              <c:showPercent val="0"/>
              <c:showBubbleSize val="0"/>
            </c:dLbl>
            <c:dLbl>
              <c:idx val="5"/>
              <c:tx>
                <c:rich>
                  <a:bodyPr/>
                  <a:lstStyle/>
                  <a:p>
                    <a:r>
                      <a:t>14</a:t>
                    </a:r>
                  </a:p>
                </c:rich>
              </c:tx>
              <c:dLblPos val="ctr"/>
              <c:showLegendKey val="0"/>
              <c:showVal val="1"/>
              <c:showCatName val="0"/>
              <c:showSerName val="0"/>
              <c:showPercent val="0"/>
              <c:showBubbleSize val="0"/>
            </c:dLbl>
            <c:dLbl>
              <c:idx val="6"/>
              <c:tx>
                <c:rich>
                  <a:bodyPr/>
                  <a:lstStyle/>
                  <a:p>
                    <a:r>
                      <a:t>16</a:t>
                    </a:r>
                  </a:p>
                </c:rich>
              </c:tx>
              <c:dLblPos val="ctr"/>
              <c:showLegendKey val="0"/>
              <c:showVal val="1"/>
              <c:showCatName val="0"/>
              <c:showSerName val="0"/>
              <c:showPercent val="0"/>
              <c:showBubbleSize val="0"/>
            </c:dLbl>
            <c:dLbl>
              <c:idx val="7"/>
              <c:tx>
                <c:rich>
                  <a:bodyPr/>
                  <a:lstStyle/>
                  <a:p>
                    <a:r>
                      <a:t>15</a:t>
                    </a:r>
                  </a:p>
                </c:rich>
              </c:tx>
              <c:dLblPos val="ctr"/>
              <c:showLegendKey val="0"/>
              <c:showVal val="1"/>
              <c:showCatName val="0"/>
              <c:showSerName val="0"/>
              <c:showPercent val="0"/>
              <c:showBubbleSize val="0"/>
            </c:dLbl>
            <c:dLbl>
              <c:idx val="8"/>
              <c:tx>
                <c:rich>
                  <a:bodyPr/>
                  <a:lstStyle/>
                  <a:p>
                    <a:r>
                      <a:t>12</a:t>
                    </a:r>
                  </a:p>
                </c:rich>
              </c:tx>
              <c:dLblPos val="ctr"/>
              <c:showLegendKey val="0"/>
              <c:showVal val="1"/>
              <c:showCatName val="0"/>
              <c:showSerName val="0"/>
              <c:showPercent val="0"/>
              <c:showBubbleSize val="0"/>
            </c:dLbl>
            <c:dLbl>
              <c:idx val="9"/>
              <c:tx>
                <c:rich>
                  <a:bodyPr/>
                  <a:lstStyle/>
                  <a:p>
                    <a:r>
                      <a:t>14</a:t>
                    </a:r>
                  </a:p>
                </c:rich>
              </c:tx>
              <c:dLblPos val="ctr"/>
              <c:showLegendKey val="0"/>
              <c:showVal val="1"/>
              <c:showCatName val="0"/>
              <c:showSerName val="0"/>
              <c:showPercent val="0"/>
              <c:showBubbleSize val="0"/>
            </c:dLbl>
            <c:dLbl>
              <c:idx val="10"/>
              <c:tx>
                <c:rich>
                  <a:bodyPr/>
                  <a:lstStyle/>
                  <a:p>
                    <a:r>
                      <a:t>12</a:t>
                    </a:r>
                  </a:p>
                </c:rich>
              </c:tx>
              <c:dLblPos val="ctr"/>
              <c:showLegendKey val="0"/>
              <c:showVal val="1"/>
              <c:showCatName val="0"/>
              <c:showSerName val="0"/>
              <c:showPercent val="0"/>
              <c:showBubbleSize val="0"/>
            </c:dLbl>
            <c:dLbl>
              <c:idx val="11"/>
              <c:tx>
                <c:rich>
                  <a:bodyPr/>
                  <a:lstStyle/>
                  <a:p>
                    <a:r>
                      <a:t>106</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029289647838048</c:v>
                </c:pt>
                <c:pt idx="2">
                  <c:v>0.13655417527005898</c:v>
                </c:pt>
                <c:pt idx="3">
                  <c:v>1.074541084268098</c:v>
                </c:pt>
                <c:pt idx="4">
                  <c:v>0.14780365174413887</c:v>
                </c:pt>
                <c:pt idx="5">
                  <c:v>0.13754349490137396</c:v>
                </c:pt>
                <c:pt idx="6">
                  <c:v>0.1649493429550351</c:v>
                </c:pt>
                <c:pt idx="7">
                  <c:v>0.15103180410754555</c:v>
                </c:pt>
                <c:pt idx="8">
                  <c:v>0.12175350159057534</c:v>
                </c:pt>
                <c:pt idx="9">
                  <c:v>0.14373749190355814</c:v>
                </c:pt>
                <c:pt idx="10">
                  <c:v>0.12133708047295301</c:v>
                </c:pt>
                <c:pt idx="11">
                  <c:v>1.055689525661815</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33</c:v>
                </c:pt>
                <c:pt idx="1">
                  <c:v>1301.283848</c:v>
                </c:pt>
                <c:pt idx="2">
                  <c:v>59.466859</c:v>
                </c:pt>
                <c:pt idx="3">
                  <c:v>54.700438</c:v>
                </c:pt>
                <c:pt idx="4">
                  <c:v>40.276411</c:v>
                </c:pt>
                <c:pt idx="5">
                  <c:v>27.881793</c:v>
                </c:pt>
                <c:pt idx="6">
                  <c:v>19.122785</c:v>
                </c:pt>
                <c:pt idx="7">
                  <c:v>12.511972</c:v>
                </c:pt>
                <c:pt idx="8">
                  <c:v>8.130613</c:v>
                </c:pt>
                <c:pt idx="9">
                  <c:v>5.680348</c:v>
                </c:pt>
                <c:pt idx="10">
                  <c:v>5.422608</c:v>
                </c:pt>
                <c:pt idx="11">
                  <c:v>3.434821</c:v>
                </c:pt>
                <c:pt idx="12">
                  <c:v>0.030539</c:v>
                </c:pt>
                <c:pt idx="13">
                  <c:v>0.0058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1.56</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9.86</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6</a:t>
                    </a:r>
                  </a:p>
                </c:rich>
              </c:tx>
              <c:dLblPos val="t"/>
              <c:showLegendKey val="0"/>
              <c:showVal val="1"/>
              <c:showCatName val="0"/>
              <c:showSerName val="0"/>
              <c:showPercent val="0"/>
              <c:showBubbleSize val="0"/>
            </c:dLbl>
            <c:dLbl>
              <c:idx val="6"/>
              <c:tx>
                <c:rich>
                  <a:bodyPr/>
                  <a:lstStyle/>
                  <a:p>
                    <a:r>
                      <a:t>12.16</a:t>
                    </a:r>
                  </a:p>
                </c:rich>
              </c:tx>
              <c:dLblPos val="t"/>
              <c:showLegendKey val="0"/>
              <c:showVal val="1"/>
              <c:showCatName val="0"/>
              <c:showSerName val="0"/>
              <c:showPercent val="0"/>
              <c:showBubbleSize val="0"/>
            </c:dLbl>
            <c:dLbl>
              <c:idx val="7"/>
              <c:tx>
                <c:rich>
                  <a:bodyPr/>
                  <a:lstStyle/>
                  <a:p>
                    <a:r>
                      <a:t>16.42</a:t>
                    </a:r>
                  </a:p>
                </c:rich>
              </c:tx>
              <c:dLblPos val="t"/>
              <c:showLegendKey val="0"/>
              <c:showVal val="1"/>
              <c:showCatName val="0"/>
              <c:showSerName val="0"/>
              <c:showPercent val="0"/>
              <c:showBubbleSize val="0"/>
            </c:dLbl>
            <c:dLbl>
              <c:idx val="8"/>
              <c:tx>
                <c:rich>
                  <a:bodyPr/>
                  <a:lstStyle/>
                  <a:p>
                    <a:r>
                      <a:t>7.72</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4</a:t>
                    </a:r>
                  </a:p>
                </c:rich>
              </c:tx>
              <c:dLblPos val="t"/>
              <c:showLegendKey val="0"/>
              <c:showVal val="1"/>
              <c:showCatName val="0"/>
              <c:showSerName val="0"/>
              <c:showPercent val="0"/>
              <c:showBubbleSize val="0"/>
            </c:dLbl>
            <c:dLbl>
              <c:idx val="11"/>
              <c:tx>
                <c:rich>
                  <a:bodyPr/>
                  <a:lstStyle/>
                  <a:p>
                    <a:r>
                      <a:t>16.58</a:t>
                    </a:r>
                  </a:p>
                </c:rich>
              </c:tx>
              <c:dLblPos val="t"/>
              <c:showLegendKey val="0"/>
              <c:showVal val="1"/>
              <c:showCatName val="0"/>
              <c:showSerName val="0"/>
              <c:showPercent val="0"/>
              <c:showBubbleSize val="0"/>
            </c:dLbl>
            <c:dLbl>
              <c:idx val="12"/>
              <c:tx>
                <c:rich>
                  <a:bodyPr/>
                  <a:lstStyle/>
                  <a:p>
                    <a:r>
                      <a:t>19.34</a:t>
                    </a:r>
                  </a:p>
                </c:rich>
              </c:tx>
              <c:dLblPos val="t"/>
              <c:showLegendKey val="0"/>
              <c:showVal val="1"/>
              <c:showCatName val="0"/>
              <c:showSerName val="0"/>
              <c:showPercent val="0"/>
              <c:showBubbleSize val="0"/>
            </c:dLbl>
            <c:dLbl>
              <c:idx val="13"/>
              <c:tx>
                <c:rich>
                  <a:bodyPr/>
                  <a:lstStyle/>
                  <a:p>
                    <a:r>
                      <a:t>24.4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3.6667</c:v>
                </c:pt>
                <c:pt idx="1">
                  <c:v>11.5603</c:v>
                </c:pt>
                <c:pt idx="2">
                  <c:v>10.4883</c:v>
                </c:pt>
                <c:pt idx="3">
                  <c:v>19.8611</c:v>
                </c:pt>
                <c:pt idx="4">
                  <c:v>12.74</c:v>
                </c:pt>
                <c:pt idx="5">
                  <c:v>11.5577</c:v>
                </c:pt>
                <c:pt idx="6">
                  <c:v>12.1551</c:v>
                </c:pt>
                <c:pt idx="7">
                  <c:v>16.4209</c:v>
                </c:pt>
                <c:pt idx="8">
                  <c:v>7.7223</c:v>
                </c:pt>
                <c:pt idx="9">
                  <c:v>7.5266</c:v>
                </c:pt>
                <c:pt idx="10">
                  <c:v>12.9422</c:v>
                </c:pt>
                <c:pt idx="11">
                  <c:v>16.5803</c:v>
                </c:pt>
                <c:pt idx="12">
                  <c:v>19.3407</c:v>
                </c:pt>
                <c:pt idx="13">
                  <c:v>24.46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0</a:t>
                    </a:r>
                  </a:p>
                </c:rich>
              </c:tx>
              <c:dLblPos val="ctr"/>
              <c:showLegendKey val="0"/>
              <c:showVal val="1"/>
              <c:showCatName val="0"/>
              <c:showSerName val="0"/>
              <c:showPercent val="0"/>
              <c:showBubbleSize val="0"/>
            </c:dLbl>
            <c:dLbl>
              <c:idx val="2"/>
              <c:tx>
                <c:rich>
                  <a:bodyPr/>
                  <a:lstStyle/>
                  <a:p>
                    <a:r>
                      <a:t>14</a:t>
                    </a:r>
                  </a:p>
                </c:rich>
              </c:tx>
              <c:dLblPos val="ctr"/>
              <c:showLegendKey val="0"/>
              <c:showVal val="1"/>
              <c:showCatName val="0"/>
              <c:showSerName val="0"/>
              <c:showPercent val="0"/>
              <c:showBubbleSize val="0"/>
            </c:dLbl>
            <c:dLbl>
              <c:idx val="3"/>
              <c:tx>
                <c:rich>
                  <a:bodyPr/>
                  <a:lstStyle/>
                  <a:p>
                    <a:r>
                      <a:t>107</a:t>
                    </a:r>
                  </a:p>
                </c:rich>
              </c:tx>
              <c:dLblPos val="ctr"/>
              <c:showLegendKey val="0"/>
              <c:showVal val="1"/>
              <c:showCatName val="0"/>
              <c:showSerName val="0"/>
              <c:showPercent val="0"/>
              <c:showBubbleSize val="0"/>
            </c:dLbl>
            <c:dLbl>
              <c:idx val="4"/>
              <c:tx>
                <c:rich>
                  <a:bodyPr/>
                  <a:lstStyle/>
                  <a:p>
                    <a:r>
                      <a:t>15</a:t>
                    </a:r>
                  </a:p>
                </c:rich>
              </c:tx>
              <c:dLblPos val="ctr"/>
              <c:showLegendKey val="0"/>
              <c:showVal val="1"/>
              <c:showCatName val="0"/>
              <c:showSerName val="0"/>
              <c:showPercent val="0"/>
              <c:showBubbleSize val="0"/>
            </c:dLbl>
            <c:dLbl>
              <c:idx val="5"/>
              <c:tx>
                <c:rich>
                  <a:bodyPr/>
                  <a:lstStyle/>
                  <a:p>
                    <a:r>
                      <a:t>14</a:t>
                    </a:r>
                  </a:p>
                </c:rich>
              </c:tx>
              <c:dLblPos val="ctr"/>
              <c:showLegendKey val="0"/>
              <c:showVal val="1"/>
              <c:showCatName val="0"/>
              <c:showSerName val="0"/>
              <c:showPercent val="0"/>
              <c:showBubbleSize val="0"/>
            </c:dLbl>
            <c:dLbl>
              <c:idx val="6"/>
              <c:tx>
                <c:rich>
                  <a:bodyPr/>
                  <a:lstStyle/>
                  <a:p>
                    <a:r>
                      <a:t>16</a:t>
                    </a:r>
                  </a:p>
                </c:rich>
              </c:tx>
              <c:dLblPos val="ctr"/>
              <c:showLegendKey val="0"/>
              <c:showVal val="1"/>
              <c:showCatName val="0"/>
              <c:showSerName val="0"/>
              <c:showPercent val="0"/>
              <c:showBubbleSize val="0"/>
            </c:dLbl>
            <c:dLbl>
              <c:idx val="7"/>
              <c:tx>
                <c:rich>
                  <a:bodyPr/>
                  <a:lstStyle/>
                  <a:p>
                    <a:r>
                      <a:t>15</a:t>
                    </a:r>
                  </a:p>
                </c:rich>
              </c:tx>
              <c:dLblPos val="ctr"/>
              <c:showLegendKey val="0"/>
              <c:showVal val="1"/>
              <c:showCatName val="0"/>
              <c:showSerName val="0"/>
              <c:showPercent val="0"/>
              <c:showBubbleSize val="0"/>
            </c:dLbl>
            <c:dLbl>
              <c:idx val="8"/>
              <c:tx>
                <c:rich>
                  <a:bodyPr/>
                  <a:lstStyle/>
                  <a:p>
                    <a:r>
                      <a:t>12</a:t>
                    </a:r>
                  </a:p>
                </c:rich>
              </c:tx>
              <c:dLblPos val="ctr"/>
              <c:showLegendKey val="0"/>
              <c:showVal val="1"/>
              <c:showCatName val="0"/>
              <c:showSerName val="0"/>
              <c:showPercent val="0"/>
              <c:showBubbleSize val="0"/>
            </c:dLbl>
            <c:dLbl>
              <c:idx val="9"/>
              <c:tx>
                <c:rich>
                  <a:bodyPr/>
                  <a:lstStyle/>
                  <a:p>
                    <a:r>
                      <a:t>14</a:t>
                    </a:r>
                  </a:p>
                </c:rich>
              </c:tx>
              <c:dLblPos val="ctr"/>
              <c:showLegendKey val="0"/>
              <c:showVal val="1"/>
              <c:showCatName val="0"/>
              <c:showSerName val="0"/>
              <c:showPercent val="0"/>
              <c:showBubbleSize val="0"/>
            </c:dLbl>
            <c:dLbl>
              <c:idx val="10"/>
              <c:tx>
                <c:rich>
                  <a:bodyPr/>
                  <a:lstStyle/>
                  <a:p>
                    <a:r>
                      <a:t>12</a:t>
                    </a:r>
                  </a:p>
                </c:rich>
              </c:tx>
              <c:dLblPos val="ctr"/>
              <c:showLegendKey val="0"/>
              <c:showVal val="1"/>
              <c:showCatName val="0"/>
              <c:showSerName val="0"/>
              <c:showPercent val="0"/>
              <c:showBubbleSize val="0"/>
            </c:dLbl>
            <c:dLbl>
              <c:idx val="11"/>
              <c:tx>
                <c:rich>
                  <a:bodyPr/>
                  <a:lstStyle/>
                  <a:p>
                    <a:r>
                      <a:t>106</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029289647838048</c:v>
                </c:pt>
                <c:pt idx="2">
                  <c:v>0.13655417527005898</c:v>
                </c:pt>
                <c:pt idx="3">
                  <c:v>1.074541084268098</c:v>
                </c:pt>
                <c:pt idx="4">
                  <c:v>0.14780365174413887</c:v>
                </c:pt>
                <c:pt idx="5">
                  <c:v>0.13754349490137396</c:v>
                </c:pt>
                <c:pt idx="6">
                  <c:v>0.1649493429550351</c:v>
                </c:pt>
                <c:pt idx="7">
                  <c:v>0.15103180410754555</c:v>
                </c:pt>
                <c:pt idx="8">
                  <c:v>0.12175350159057534</c:v>
                </c:pt>
                <c:pt idx="9">
                  <c:v>0.14373749190355814</c:v>
                </c:pt>
                <c:pt idx="10">
                  <c:v>0.12133708047295301</c:v>
                </c:pt>
                <c:pt idx="11">
                  <c:v>1.055689525661815</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33</c:v>
                </c:pt>
                <c:pt idx="1">
                  <c:v>1301.283848</c:v>
                </c:pt>
                <c:pt idx="2">
                  <c:v>59.466859</c:v>
                </c:pt>
                <c:pt idx="3">
                  <c:v>54.700438</c:v>
                </c:pt>
                <c:pt idx="4">
                  <c:v>40.276411</c:v>
                </c:pt>
                <c:pt idx="5">
                  <c:v>27.881793</c:v>
                </c:pt>
                <c:pt idx="6">
                  <c:v>19.122785</c:v>
                </c:pt>
                <c:pt idx="7">
                  <c:v>12.511972</c:v>
                </c:pt>
                <c:pt idx="8">
                  <c:v>8.130613</c:v>
                </c:pt>
                <c:pt idx="9">
                  <c:v>5.680348</c:v>
                </c:pt>
                <c:pt idx="10">
                  <c:v>5.422608</c:v>
                </c:pt>
                <c:pt idx="11">
                  <c:v>3.434821</c:v>
                </c:pt>
                <c:pt idx="12">
                  <c:v>0.030539</c:v>
                </c:pt>
                <c:pt idx="13">
                  <c:v>0.0058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1.56</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9.86</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6</a:t>
                    </a:r>
                  </a:p>
                </c:rich>
              </c:tx>
              <c:dLblPos val="t"/>
              <c:showLegendKey val="0"/>
              <c:showVal val="1"/>
              <c:showCatName val="0"/>
              <c:showSerName val="0"/>
              <c:showPercent val="0"/>
              <c:showBubbleSize val="0"/>
            </c:dLbl>
            <c:dLbl>
              <c:idx val="6"/>
              <c:tx>
                <c:rich>
                  <a:bodyPr/>
                  <a:lstStyle/>
                  <a:p>
                    <a:r>
                      <a:t>12.16</a:t>
                    </a:r>
                  </a:p>
                </c:rich>
              </c:tx>
              <c:dLblPos val="t"/>
              <c:showLegendKey val="0"/>
              <c:showVal val="1"/>
              <c:showCatName val="0"/>
              <c:showSerName val="0"/>
              <c:showPercent val="0"/>
              <c:showBubbleSize val="0"/>
            </c:dLbl>
            <c:dLbl>
              <c:idx val="7"/>
              <c:tx>
                <c:rich>
                  <a:bodyPr/>
                  <a:lstStyle/>
                  <a:p>
                    <a:r>
                      <a:t>16.42</a:t>
                    </a:r>
                  </a:p>
                </c:rich>
              </c:tx>
              <c:dLblPos val="t"/>
              <c:showLegendKey val="0"/>
              <c:showVal val="1"/>
              <c:showCatName val="0"/>
              <c:showSerName val="0"/>
              <c:showPercent val="0"/>
              <c:showBubbleSize val="0"/>
            </c:dLbl>
            <c:dLbl>
              <c:idx val="8"/>
              <c:tx>
                <c:rich>
                  <a:bodyPr/>
                  <a:lstStyle/>
                  <a:p>
                    <a:r>
                      <a:t>7.72</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4</a:t>
                    </a:r>
                  </a:p>
                </c:rich>
              </c:tx>
              <c:dLblPos val="t"/>
              <c:showLegendKey val="0"/>
              <c:showVal val="1"/>
              <c:showCatName val="0"/>
              <c:showSerName val="0"/>
              <c:showPercent val="0"/>
              <c:showBubbleSize val="0"/>
            </c:dLbl>
            <c:dLbl>
              <c:idx val="11"/>
              <c:tx>
                <c:rich>
                  <a:bodyPr/>
                  <a:lstStyle/>
                  <a:p>
                    <a:r>
                      <a:t>16.58</a:t>
                    </a:r>
                  </a:p>
                </c:rich>
              </c:tx>
              <c:dLblPos val="t"/>
              <c:showLegendKey val="0"/>
              <c:showVal val="1"/>
              <c:showCatName val="0"/>
              <c:showSerName val="0"/>
              <c:showPercent val="0"/>
              <c:showBubbleSize val="0"/>
            </c:dLbl>
            <c:dLbl>
              <c:idx val="12"/>
              <c:tx>
                <c:rich>
                  <a:bodyPr/>
                  <a:lstStyle/>
                  <a:p>
                    <a:r>
                      <a:t>19.34</a:t>
                    </a:r>
                  </a:p>
                </c:rich>
              </c:tx>
              <c:dLblPos val="t"/>
              <c:showLegendKey val="0"/>
              <c:showVal val="1"/>
              <c:showCatName val="0"/>
              <c:showSerName val="0"/>
              <c:showPercent val="0"/>
              <c:showBubbleSize val="0"/>
            </c:dLbl>
            <c:dLbl>
              <c:idx val="13"/>
              <c:tx>
                <c:rich>
                  <a:bodyPr/>
                  <a:lstStyle/>
                  <a:p>
                    <a:r>
                      <a:t>24.4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3.6667</c:v>
                </c:pt>
                <c:pt idx="1">
                  <c:v>11.5603</c:v>
                </c:pt>
                <c:pt idx="2">
                  <c:v>10.4883</c:v>
                </c:pt>
                <c:pt idx="3">
                  <c:v>19.8611</c:v>
                </c:pt>
                <c:pt idx="4">
                  <c:v>12.74</c:v>
                </c:pt>
                <c:pt idx="5">
                  <c:v>11.5577</c:v>
                </c:pt>
                <c:pt idx="6">
                  <c:v>12.1551</c:v>
                </c:pt>
                <c:pt idx="7">
                  <c:v>16.4209</c:v>
                </c:pt>
                <c:pt idx="8">
                  <c:v>7.7223</c:v>
                </c:pt>
                <c:pt idx="9">
                  <c:v>7.5266</c:v>
                </c:pt>
                <c:pt idx="10">
                  <c:v>12.9422</c:v>
                </c:pt>
                <c:pt idx="11">
                  <c:v>16.5803</c:v>
                </c:pt>
                <c:pt idx="12">
                  <c:v>19.3407</c:v>
                </c:pt>
                <c:pt idx="13">
                  <c:v>24.46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0</a:t>
                    </a:r>
                  </a:p>
                </c:rich>
              </c:tx>
              <c:dLblPos val="ctr"/>
              <c:showLegendKey val="0"/>
              <c:showVal val="1"/>
              <c:showCatName val="0"/>
              <c:showSerName val="0"/>
              <c:showPercent val="0"/>
              <c:showBubbleSize val="0"/>
            </c:dLbl>
            <c:dLbl>
              <c:idx val="2"/>
              <c:tx>
                <c:rich>
                  <a:bodyPr/>
                  <a:lstStyle/>
                  <a:p>
                    <a:r>
                      <a:t>14</a:t>
                    </a:r>
                  </a:p>
                </c:rich>
              </c:tx>
              <c:dLblPos val="ctr"/>
              <c:showLegendKey val="0"/>
              <c:showVal val="1"/>
              <c:showCatName val="0"/>
              <c:showSerName val="0"/>
              <c:showPercent val="0"/>
              <c:showBubbleSize val="0"/>
            </c:dLbl>
            <c:dLbl>
              <c:idx val="3"/>
              <c:tx>
                <c:rich>
                  <a:bodyPr/>
                  <a:lstStyle/>
                  <a:p>
                    <a:r>
                      <a:t>107</a:t>
                    </a:r>
                  </a:p>
                </c:rich>
              </c:tx>
              <c:dLblPos val="ctr"/>
              <c:showLegendKey val="0"/>
              <c:showVal val="1"/>
              <c:showCatName val="0"/>
              <c:showSerName val="0"/>
              <c:showPercent val="0"/>
              <c:showBubbleSize val="0"/>
            </c:dLbl>
            <c:dLbl>
              <c:idx val="4"/>
              <c:tx>
                <c:rich>
                  <a:bodyPr/>
                  <a:lstStyle/>
                  <a:p>
                    <a:r>
                      <a:t>15</a:t>
                    </a:r>
                  </a:p>
                </c:rich>
              </c:tx>
              <c:dLblPos val="ctr"/>
              <c:showLegendKey val="0"/>
              <c:showVal val="1"/>
              <c:showCatName val="0"/>
              <c:showSerName val="0"/>
              <c:showPercent val="0"/>
              <c:showBubbleSize val="0"/>
            </c:dLbl>
            <c:dLbl>
              <c:idx val="5"/>
              <c:tx>
                <c:rich>
                  <a:bodyPr/>
                  <a:lstStyle/>
                  <a:p>
                    <a:r>
                      <a:t>14</a:t>
                    </a:r>
                  </a:p>
                </c:rich>
              </c:tx>
              <c:dLblPos val="ctr"/>
              <c:showLegendKey val="0"/>
              <c:showVal val="1"/>
              <c:showCatName val="0"/>
              <c:showSerName val="0"/>
              <c:showPercent val="0"/>
              <c:showBubbleSize val="0"/>
            </c:dLbl>
            <c:dLbl>
              <c:idx val="6"/>
              <c:tx>
                <c:rich>
                  <a:bodyPr/>
                  <a:lstStyle/>
                  <a:p>
                    <a:r>
                      <a:t>16</a:t>
                    </a:r>
                  </a:p>
                </c:rich>
              </c:tx>
              <c:dLblPos val="ctr"/>
              <c:showLegendKey val="0"/>
              <c:showVal val="1"/>
              <c:showCatName val="0"/>
              <c:showSerName val="0"/>
              <c:showPercent val="0"/>
              <c:showBubbleSize val="0"/>
            </c:dLbl>
            <c:dLbl>
              <c:idx val="7"/>
              <c:tx>
                <c:rich>
                  <a:bodyPr/>
                  <a:lstStyle/>
                  <a:p>
                    <a:r>
                      <a:t>15</a:t>
                    </a:r>
                  </a:p>
                </c:rich>
              </c:tx>
              <c:dLblPos val="ctr"/>
              <c:showLegendKey val="0"/>
              <c:showVal val="1"/>
              <c:showCatName val="0"/>
              <c:showSerName val="0"/>
              <c:showPercent val="0"/>
              <c:showBubbleSize val="0"/>
            </c:dLbl>
            <c:dLbl>
              <c:idx val="8"/>
              <c:tx>
                <c:rich>
                  <a:bodyPr/>
                  <a:lstStyle/>
                  <a:p>
                    <a:r>
                      <a:t>12</a:t>
                    </a:r>
                  </a:p>
                </c:rich>
              </c:tx>
              <c:dLblPos val="ctr"/>
              <c:showLegendKey val="0"/>
              <c:showVal val="1"/>
              <c:showCatName val="0"/>
              <c:showSerName val="0"/>
              <c:showPercent val="0"/>
              <c:showBubbleSize val="0"/>
            </c:dLbl>
            <c:dLbl>
              <c:idx val="9"/>
              <c:tx>
                <c:rich>
                  <a:bodyPr/>
                  <a:lstStyle/>
                  <a:p>
                    <a:r>
                      <a:t>14</a:t>
                    </a:r>
                  </a:p>
                </c:rich>
              </c:tx>
              <c:dLblPos val="ctr"/>
              <c:showLegendKey val="0"/>
              <c:showVal val="1"/>
              <c:showCatName val="0"/>
              <c:showSerName val="0"/>
              <c:showPercent val="0"/>
              <c:showBubbleSize val="0"/>
            </c:dLbl>
            <c:dLbl>
              <c:idx val="10"/>
              <c:tx>
                <c:rich>
                  <a:bodyPr/>
                  <a:lstStyle/>
                  <a:p>
                    <a:r>
                      <a:t>12</a:t>
                    </a:r>
                  </a:p>
                </c:rich>
              </c:tx>
              <c:dLblPos val="ctr"/>
              <c:showLegendKey val="0"/>
              <c:showVal val="1"/>
              <c:showCatName val="0"/>
              <c:showSerName val="0"/>
              <c:showPercent val="0"/>
              <c:showBubbleSize val="0"/>
            </c:dLbl>
            <c:dLbl>
              <c:idx val="11"/>
              <c:tx>
                <c:rich>
                  <a:bodyPr/>
                  <a:lstStyle/>
                  <a:p>
                    <a:r>
                      <a:t>106</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029289647838048</c:v>
                </c:pt>
                <c:pt idx="2">
                  <c:v>0.13655417527005898</c:v>
                </c:pt>
                <c:pt idx="3">
                  <c:v>1.074541084268098</c:v>
                </c:pt>
                <c:pt idx="4">
                  <c:v>0.14780365174413887</c:v>
                </c:pt>
                <c:pt idx="5">
                  <c:v>0.13754349490137396</c:v>
                </c:pt>
                <c:pt idx="6">
                  <c:v>0.1649493429550351</c:v>
                </c:pt>
                <c:pt idx="7">
                  <c:v>0.15103180410754555</c:v>
                </c:pt>
                <c:pt idx="8">
                  <c:v>0.12175350159057534</c:v>
                </c:pt>
                <c:pt idx="9">
                  <c:v>0.14373749190355814</c:v>
                </c:pt>
                <c:pt idx="10">
                  <c:v>0.12133708047295301</c:v>
                </c:pt>
                <c:pt idx="11">
                  <c:v>1.055689525661815</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33</c:v>
                </c:pt>
                <c:pt idx="1">
                  <c:v>1301.283848</c:v>
                </c:pt>
                <c:pt idx="2">
                  <c:v>59.466859</c:v>
                </c:pt>
                <c:pt idx="3">
                  <c:v>54.700438</c:v>
                </c:pt>
                <c:pt idx="4">
                  <c:v>40.276411</c:v>
                </c:pt>
                <c:pt idx="5">
                  <c:v>27.881793</c:v>
                </c:pt>
                <c:pt idx="6">
                  <c:v>19.122785</c:v>
                </c:pt>
                <c:pt idx="7">
                  <c:v>12.511972</c:v>
                </c:pt>
                <c:pt idx="8">
                  <c:v>8.130613</c:v>
                </c:pt>
                <c:pt idx="9">
                  <c:v>5.680348</c:v>
                </c:pt>
                <c:pt idx="10">
                  <c:v>5.422608</c:v>
                </c:pt>
                <c:pt idx="11">
                  <c:v>3.434821</c:v>
                </c:pt>
                <c:pt idx="12">
                  <c:v>0.030539</c:v>
                </c:pt>
                <c:pt idx="13">
                  <c:v>0.0058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1.56</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9.86</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6</a:t>
                    </a:r>
                  </a:p>
                </c:rich>
              </c:tx>
              <c:dLblPos val="t"/>
              <c:showLegendKey val="0"/>
              <c:showVal val="1"/>
              <c:showCatName val="0"/>
              <c:showSerName val="0"/>
              <c:showPercent val="0"/>
              <c:showBubbleSize val="0"/>
            </c:dLbl>
            <c:dLbl>
              <c:idx val="6"/>
              <c:tx>
                <c:rich>
                  <a:bodyPr/>
                  <a:lstStyle/>
                  <a:p>
                    <a:r>
                      <a:t>12.16</a:t>
                    </a:r>
                  </a:p>
                </c:rich>
              </c:tx>
              <c:dLblPos val="t"/>
              <c:showLegendKey val="0"/>
              <c:showVal val="1"/>
              <c:showCatName val="0"/>
              <c:showSerName val="0"/>
              <c:showPercent val="0"/>
              <c:showBubbleSize val="0"/>
            </c:dLbl>
            <c:dLbl>
              <c:idx val="7"/>
              <c:tx>
                <c:rich>
                  <a:bodyPr/>
                  <a:lstStyle/>
                  <a:p>
                    <a:r>
                      <a:t>16.42</a:t>
                    </a:r>
                  </a:p>
                </c:rich>
              </c:tx>
              <c:dLblPos val="t"/>
              <c:showLegendKey val="0"/>
              <c:showVal val="1"/>
              <c:showCatName val="0"/>
              <c:showSerName val="0"/>
              <c:showPercent val="0"/>
              <c:showBubbleSize val="0"/>
            </c:dLbl>
            <c:dLbl>
              <c:idx val="8"/>
              <c:tx>
                <c:rich>
                  <a:bodyPr/>
                  <a:lstStyle/>
                  <a:p>
                    <a:r>
                      <a:t>7.72</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4</a:t>
                    </a:r>
                  </a:p>
                </c:rich>
              </c:tx>
              <c:dLblPos val="t"/>
              <c:showLegendKey val="0"/>
              <c:showVal val="1"/>
              <c:showCatName val="0"/>
              <c:showSerName val="0"/>
              <c:showPercent val="0"/>
              <c:showBubbleSize val="0"/>
            </c:dLbl>
            <c:dLbl>
              <c:idx val="11"/>
              <c:tx>
                <c:rich>
                  <a:bodyPr/>
                  <a:lstStyle/>
                  <a:p>
                    <a:r>
                      <a:t>16.58</a:t>
                    </a:r>
                  </a:p>
                </c:rich>
              </c:tx>
              <c:dLblPos val="t"/>
              <c:showLegendKey val="0"/>
              <c:showVal val="1"/>
              <c:showCatName val="0"/>
              <c:showSerName val="0"/>
              <c:showPercent val="0"/>
              <c:showBubbleSize val="0"/>
            </c:dLbl>
            <c:dLbl>
              <c:idx val="12"/>
              <c:tx>
                <c:rich>
                  <a:bodyPr/>
                  <a:lstStyle/>
                  <a:p>
                    <a:r>
                      <a:t>19.34</a:t>
                    </a:r>
                  </a:p>
                </c:rich>
              </c:tx>
              <c:dLblPos val="t"/>
              <c:showLegendKey val="0"/>
              <c:showVal val="1"/>
              <c:showCatName val="0"/>
              <c:showSerName val="0"/>
              <c:showPercent val="0"/>
              <c:showBubbleSize val="0"/>
            </c:dLbl>
            <c:dLbl>
              <c:idx val="13"/>
              <c:tx>
                <c:rich>
                  <a:bodyPr/>
                  <a:lstStyle/>
                  <a:p>
                    <a:r>
                      <a:t>24.47</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3.6667</c:v>
                </c:pt>
                <c:pt idx="1">
                  <c:v>11.5603</c:v>
                </c:pt>
                <c:pt idx="2">
                  <c:v>10.4883</c:v>
                </c:pt>
                <c:pt idx="3">
                  <c:v>19.8611</c:v>
                </c:pt>
                <c:pt idx="4">
                  <c:v>12.74</c:v>
                </c:pt>
                <c:pt idx="5">
                  <c:v>11.5577</c:v>
                </c:pt>
                <c:pt idx="6">
                  <c:v>12.1551</c:v>
                </c:pt>
                <c:pt idx="7">
                  <c:v>16.4209</c:v>
                </c:pt>
                <c:pt idx="8">
                  <c:v>7.7223</c:v>
                </c:pt>
                <c:pt idx="9">
                  <c:v>7.5266</c:v>
                </c:pt>
                <c:pt idx="10">
                  <c:v>12.9422</c:v>
                </c:pt>
                <c:pt idx="11">
                  <c:v>16.5803</c:v>
                </c:pt>
                <c:pt idx="12">
                  <c:v>19.3407</c:v>
                </c:pt>
                <c:pt idx="13">
                  <c:v>24.468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4780.9</a:t>
                    </a:r>
                  </a:p>
                </c:rich>
              </c:tx>
              <c:showLegendKey val="0"/>
              <c:showVal val="1"/>
              <c:showCatName val="0"/>
              <c:showSerName val="0"/>
              <c:showPercent val="0"/>
              <c:showBubbleSize val="0"/>
            </c:dLbl>
            <c:dLbl>
              <c:idx val="1"/>
              <c:tx>
                <c:rich>
                  <a:bodyPr/>
                  <a:lstStyle/>
                  <a:p>
                    <a:r>
                      <a:rPr>
                        <a:solidFill>
                          <a:srgbClr val="FFFFFF"/>
                        </a:solidFill>
                      </a:rPr>
                      <a:t>5018.6</a:t>
                    </a:r>
                  </a:p>
                </c:rich>
              </c:tx>
              <c:showLegendKey val="0"/>
              <c:showVal val="1"/>
              <c:showCatName val="0"/>
              <c:showSerName val="0"/>
              <c:showPercent val="0"/>
              <c:showBubbleSize val="0"/>
            </c:dLbl>
            <c:dLbl>
              <c:idx val="2"/>
              <c:tx>
                <c:rich>
                  <a:bodyPr/>
                  <a:lstStyle/>
                  <a:p>
                    <a:r>
                      <a:rPr>
                        <a:solidFill>
                          <a:srgbClr val="FFFFFF"/>
                        </a:solidFill>
                      </a:rPr>
                      <a:t>133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80.905686</c:v>
                </c:pt>
                <c:pt idx="1">
                  <c:v>5018.627947</c:v>
                </c:pt>
                <c:pt idx="2">
                  <c:v>1330.9789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1437.7</a:t>
                    </a:r>
                  </a:p>
                </c:rich>
              </c:tx>
              <c:showLegendKey val="0"/>
              <c:showVal val="1"/>
              <c:showCatName val="0"/>
              <c:showSerName val="0"/>
              <c:showPercent val="0"/>
              <c:showBubbleSize val="0"/>
            </c:dLbl>
            <c:dLbl>
              <c:idx val="1"/>
              <c:tx>
                <c:rich>
                  <a:bodyPr/>
                  <a:lstStyle/>
                  <a:p>
                    <a:r>
                      <a:rPr>
                        <a:solidFill>
                          <a:srgbClr val="FFFFFF"/>
                        </a:solidFill>
                      </a:rPr>
                      <a:t>1451.5</a:t>
                    </a:r>
                  </a:p>
                </c:rich>
              </c:tx>
              <c:showLegendKey val="0"/>
              <c:showVal val="1"/>
              <c:showCatName val="0"/>
              <c:showSerName val="0"/>
              <c:showPercent val="0"/>
              <c:showBubbleSize val="0"/>
            </c:dLbl>
            <c:dLbl>
              <c:idx val="2"/>
              <c:tx>
                <c:rich>
                  <a:bodyPr/>
                  <a:lstStyle/>
                  <a:p>
                    <a:r>
                      <a:rPr>
                        <a:solidFill>
                          <a:srgbClr val="FFFFFF"/>
                        </a:solidFill>
                      </a:rPr>
                      <a:t>44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37.71065</c:v>
                </c:pt>
                <c:pt idx="1">
                  <c:v>1451.456265</c:v>
                </c:pt>
                <c:pt idx="2">
                  <c:v>445.84262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a:solidFill>
                          <a:srgbClr val="FFFFFF"/>
                        </a:solidFill>
                      </a:rPr>
                      <a:t>1238.7</a:t>
                    </a:r>
                  </a:p>
                </c:rich>
              </c:tx>
              <c:showLegendKey val="0"/>
              <c:showVal val="1"/>
              <c:showCatName val="0"/>
              <c:showSerName val="0"/>
              <c:showPercent val="0"/>
              <c:showBubbleSize val="0"/>
            </c:dLbl>
            <c:dLbl>
              <c:idx val="1"/>
              <c:tx>
                <c:rich>
                  <a:bodyPr/>
                  <a:lstStyle/>
                  <a:p>
                    <a:r>
                      <a:rPr>
                        <a:solidFill>
                          <a:srgbClr val="FFFFFF"/>
                        </a:solidFill>
                      </a:rPr>
                      <a:t>1221.7</a:t>
                    </a:r>
                  </a:p>
                </c:rich>
              </c:tx>
              <c:showLegendKey val="0"/>
              <c:showVal val="1"/>
              <c:showCatName val="0"/>
              <c:showSerName val="0"/>
              <c:showPercent val="0"/>
              <c:showBubbleSize val="0"/>
            </c:dLbl>
            <c:dLbl>
              <c:idx val="2"/>
              <c:tx>
                <c:rich>
                  <a:bodyPr/>
                  <a:lstStyle/>
                  <a:p>
                    <a:r>
                      <a:rPr>
                        <a:solidFill>
                          <a:srgbClr val="FFFFFF"/>
                        </a:solidFill>
                      </a:rPr>
                      <a:t>52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38.743655</c:v>
                </c:pt>
                <c:pt idx="1">
                  <c:v>1221.736181</c:v>
                </c:pt>
                <c:pt idx="2">
                  <c:v>526.77170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657.8</a:t>
                    </a:r>
                  </a:p>
                </c:rich>
              </c:tx>
              <c:showLegendKey val="0"/>
              <c:showVal val="1"/>
              <c:showCatName val="0"/>
              <c:showSerName val="0"/>
              <c:showPercent val="0"/>
              <c:showBubbleSize val="0"/>
            </c:dLbl>
            <c:dLbl>
              <c:idx val="1"/>
              <c:tx>
                <c:rich>
                  <a:bodyPr/>
                  <a:lstStyle/>
                  <a:p>
                    <a:r>
                      <a:rPr>
                        <a:solidFill>
                          <a:srgbClr val="FFFFFF"/>
                        </a:solidFill>
                      </a:rPr>
                      <a:t>679.5</a:t>
                    </a:r>
                  </a:p>
                </c:rich>
              </c:tx>
              <c:showLegendKey val="0"/>
              <c:showVal val="1"/>
              <c:showCatName val="0"/>
              <c:showSerName val="0"/>
              <c:showPercent val="0"/>
              <c:showBubbleSize val="0"/>
            </c:dLbl>
            <c:dLbl>
              <c:idx val="2"/>
              <c:tx>
                <c:rich>
                  <a:bodyPr/>
                  <a:lstStyle/>
                  <a:p>
                    <a:r>
                      <a:rPr>
                        <a:solidFill>
                          <a:srgbClr val="FFFFFF"/>
                        </a:solidFill>
                      </a:rPr>
                      <a:t>36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57.81014</c:v>
                </c:pt>
                <c:pt idx="1">
                  <c:v>679.516505</c:v>
                </c:pt>
                <c:pt idx="2">
                  <c:v>362.19093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tx>
                <c:rich>
                  <a:bodyPr/>
                  <a:lstStyle/>
                  <a:p>
                    <a:r>
                      <a:rPr>
                        <a:solidFill>
                          <a:srgbClr val="FFFFFF"/>
                        </a:solidFill>
                      </a:rPr>
                      <a:t>325.5</a:t>
                    </a:r>
                  </a:p>
                </c:rich>
              </c:tx>
              <c:showLegendKey val="0"/>
              <c:showVal val="1"/>
              <c:showCatName val="0"/>
              <c:showSerName val="0"/>
              <c:showPercent val="0"/>
              <c:showBubbleSize val="0"/>
            </c:dLbl>
            <c:dLbl>
              <c:idx val="1"/>
              <c:tx>
                <c:rich>
                  <a:bodyPr/>
                  <a:lstStyle/>
                  <a:p>
                    <a:r>
                      <a:rPr>
                        <a:solidFill>
                          <a:srgbClr val="FFFFFF"/>
                        </a:solidFill>
                      </a:rPr>
                      <a:t>334.1</a:t>
                    </a:r>
                  </a:p>
                </c:rich>
              </c:tx>
              <c:showLegendKey val="0"/>
              <c:showVal val="1"/>
              <c:showCatName val="0"/>
              <c:showSerName val="0"/>
              <c:showPercent val="0"/>
              <c:showBubbleSize val="0"/>
            </c:dLbl>
            <c:dLbl>
              <c:idx val="2"/>
              <c:tx>
                <c:rich>
                  <a:bodyPr/>
                  <a:lstStyle/>
                  <a:p>
                    <a:r>
                      <a:rPr>
                        <a:solidFill>
                          <a:srgbClr val="FFFFFF"/>
                        </a:solidFill>
                      </a:rPr>
                      <a:t>4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25.487089</c:v>
                </c:pt>
                <c:pt idx="1">
                  <c:v>334.08644</c:v>
                </c:pt>
                <c:pt idx="2">
                  <c:v>43.06606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285.3</a:t>
                    </a:r>
                  </a:p>
                </c:rich>
              </c:tx>
              <c:showLegendKey val="0"/>
              <c:showVal val="1"/>
              <c:showCatName val="0"/>
              <c:showSerName val="0"/>
              <c:showPercent val="0"/>
              <c:showBubbleSize val="0"/>
            </c:dLbl>
            <c:dLbl>
              <c:idx val="1"/>
              <c:tx>
                <c:rich>
                  <a:bodyPr/>
                  <a:lstStyle/>
                  <a:p>
                    <a:r>
                      <a:rPr>
                        <a:solidFill>
                          <a:srgbClr val="FFFFFF"/>
                        </a:solidFill>
                      </a:rPr>
                      <a:t>279.2</a:t>
                    </a:r>
                  </a:p>
                </c:rich>
              </c:tx>
              <c:showLegendKey val="0"/>
              <c:showVal val="1"/>
              <c:showCatName val="0"/>
              <c:showSerName val="0"/>
              <c:showPercent val="0"/>
              <c:showBubbleSize val="0"/>
            </c:dLbl>
            <c:dLbl>
              <c:idx val="2"/>
              <c:tx>
                <c:rich>
                  <a:bodyPr/>
                  <a:lstStyle/>
                  <a:p>
                    <a:r>
                      <a:rPr>
                        <a:solidFill>
                          <a:srgbClr val="FFFFFF"/>
                        </a:solidFill>
                      </a:rPr>
                      <a:t>12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85.310589</c:v>
                </c:pt>
                <c:pt idx="1">
                  <c:v>279.228218</c:v>
                </c:pt>
                <c:pt idx="2">
                  <c:v>126.75247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tx>
                <c:rich>
                  <a:bodyPr/>
                  <a:lstStyle/>
                  <a:p>
                    <a:r>
                      <a:rPr>
                        <a:solidFill>
                          <a:srgbClr val="FFFFFF"/>
                        </a:solidFill>
                      </a:rPr>
                      <a:t>125.0</a:t>
                    </a:r>
                  </a:p>
                </c:rich>
              </c:tx>
              <c:showLegendKey val="0"/>
              <c:showVal val="1"/>
              <c:showCatName val="0"/>
              <c:showSerName val="0"/>
              <c:showPercent val="0"/>
              <c:showBubbleSize val="0"/>
            </c:dLbl>
            <c:dLbl>
              <c:idx val="1"/>
              <c:tx>
                <c:rich>
                  <a:bodyPr/>
                  <a:lstStyle/>
                  <a:p>
                    <a:r>
                      <a:rPr>
                        <a:solidFill>
                          <a:srgbClr val="FFFFFF"/>
                        </a:solidFill>
                      </a:rPr>
                      <a:t>141.1</a:t>
                    </a:r>
                  </a:p>
                </c:rich>
              </c:tx>
              <c:showLegendKey val="0"/>
              <c:showVal val="1"/>
              <c:showCatName val="0"/>
              <c:showSerName val="0"/>
              <c:showPercent val="0"/>
              <c:showBubbleSize val="0"/>
            </c:dLbl>
            <c:dLbl>
              <c:idx val="2"/>
              <c:tx>
                <c:rich>
                  <a:bodyPr/>
                  <a:lstStyle/>
                  <a:p>
                    <a:r>
                      <a:rPr>
                        <a:solidFill>
                          <a:srgbClr val="FFFFFF"/>
                        </a:solidFill>
                      </a:rPr>
                      <a:t>6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25.021135</c:v>
                </c:pt>
                <c:pt idx="1">
                  <c:v>141.106717</c:v>
                </c:pt>
                <c:pt idx="2">
                  <c:v>61.01264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085.0</a:t>
                    </a:r>
                  </a:p>
                </c:rich>
              </c:tx>
              <c:showLegendKey val="0"/>
              <c:showVal val="1"/>
              <c:showCatName val="0"/>
              <c:showSerName val="0"/>
              <c:showPercent val="0"/>
              <c:showBubbleSize val="0"/>
            </c:dLbl>
            <c:dLbl>
              <c:idx val="1"/>
              <c:tx>
                <c:rich>
                  <a:bodyPr/>
                  <a:lstStyle/>
                  <a:p>
                    <a:r>
                      <a:rPr>
                        <a:solidFill>
                          <a:srgbClr val="FFFFFF"/>
                        </a:solidFill>
                      </a:rPr>
                      <a:t>1115.6</a:t>
                    </a:r>
                  </a:p>
                </c:rich>
              </c:tx>
              <c:showLegendKey val="0"/>
              <c:showVal val="1"/>
              <c:showCatName val="0"/>
              <c:showSerName val="0"/>
              <c:showPercent val="0"/>
              <c:showBubbleSize val="0"/>
            </c:dLbl>
            <c:dLbl>
              <c:idx val="2"/>
              <c:tx>
                <c:rich>
                  <a:bodyPr/>
                  <a:lstStyle/>
                  <a:p>
                    <a:r>
                      <a:rPr>
                        <a:solidFill>
                          <a:srgbClr val="FFFFFF"/>
                        </a:solidFill>
                      </a:rPr>
                      <a:t>38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85.035558</c:v>
                </c:pt>
                <c:pt idx="1">
                  <c:v>1115.558721</c:v>
                </c:pt>
                <c:pt idx="2">
                  <c:v>384.4346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54.9</a:t>
                    </a:r>
                  </a:p>
                </c:rich>
              </c:tx>
              <c:showLegendKey val="0"/>
              <c:showVal val="1"/>
              <c:showCatName val="0"/>
              <c:showSerName val="0"/>
              <c:showPercent val="0"/>
              <c:showBubbleSize val="0"/>
            </c:dLbl>
            <c:dLbl>
              <c:idx val="1"/>
              <c:tx>
                <c:rich>
                  <a:bodyPr/>
                  <a:lstStyle/>
                  <a:p>
                    <a:r>
                      <a:rPr>
                        <a:solidFill>
                          <a:srgbClr val="FFFFFF"/>
                        </a:solidFill>
                      </a:rPr>
                      <a:t>158.5</a:t>
                    </a:r>
                  </a:p>
                </c:rich>
              </c:tx>
              <c:showLegendKey val="0"/>
              <c:showVal val="1"/>
              <c:showCatName val="0"/>
              <c:showSerName val="0"/>
              <c:showPercent val="0"/>
              <c:showBubbleSize val="0"/>
            </c:dLbl>
            <c:dLbl>
              <c:idx val="2"/>
              <c:tx>
                <c:rich>
                  <a:bodyPr/>
                  <a:lstStyle/>
                  <a:p>
                    <a:r>
                      <a:rPr>
                        <a:solidFill>
                          <a:srgbClr val="FFFFFF"/>
                        </a:solidFill>
                      </a:rPr>
                      <a:t>1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4.869201</c:v>
                </c:pt>
                <c:pt idx="1">
                  <c:v>158.541342</c:v>
                </c:pt>
                <c:pt idx="2">
                  <c:v>11.3408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el</c:v>
                </c:pt>
              </c:strCache>
            </c:strRef>
          </c:tx>
          <c:spPr>
            <a:solidFill>
              <a:srgbClr val="006C6D"/>
            </a:solidFill>
            <a:ln>
              <a:solidFill>
                <a:schemeClr val="bg1"/>
              </a:solidFill>
            </a:ln>
            <a:effectLst/>
          </c:spPr>
          <c:invertIfNegative val="0"/>
          <c:dLbls>
            <c:dLbl>
              <c:idx val="0"/>
              <c:tx>
                <c:rich>
                  <a:bodyPr/>
                  <a:lstStyle/>
                  <a:p>
                    <a:r>
                      <a:rPr>
                        <a:solidFill>
                          <a:srgbClr val="FFFFFF"/>
                        </a:solidFill>
                      </a:rPr>
                      <a:t>17.6</a:t>
                    </a:r>
                  </a:p>
                </c:rich>
              </c:tx>
              <c:showLegendKey val="0"/>
              <c:showVal val="1"/>
              <c:showCatName val="0"/>
              <c:showSerName val="0"/>
              <c:showPercent val="0"/>
              <c:showBubbleSize val="0"/>
            </c:dLbl>
            <c:dLbl>
              <c:idx val="1"/>
              <c:tx>
                <c:rich>
                  <a:bodyPr/>
                  <a:lstStyle/>
                  <a:p>
                    <a:r>
                      <a:rPr>
                        <a:solidFill>
                          <a:srgbClr val="FFFFFF"/>
                        </a:solidFill>
                      </a:rPr>
                      <a:t>18.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629821</c:v>
                </c:pt>
                <c:pt idx="1">
                  <c:v>18.170598</c:v>
                </c:pt>
                <c:pt idx="2">
                  <c:v>0.68048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99.9</a:t>
                    </a:r>
                  </a:p>
                </c:rich>
              </c:tx>
              <c:showLegendKey val="0"/>
              <c:showVal val="1"/>
              <c:showCatName val="0"/>
              <c:showSerName val="0"/>
              <c:showPercent val="0"/>
              <c:showBubbleSize val="0"/>
            </c:dLbl>
            <c:dLbl>
              <c:idx val="1"/>
              <c:tx>
                <c:rich>
                  <a:bodyPr/>
                  <a:lstStyle/>
                  <a:p>
                    <a:r>
                      <a:rPr>
                        <a:solidFill>
                          <a:srgbClr val="FFFFFF"/>
                        </a:solidFill>
                      </a:rPr>
                      <a:t>104.7</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937149</c:v>
                </c:pt>
                <c:pt idx="1">
                  <c:v>104.749803</c:v>
                </c:pt>
                <c:pt idx="2">
                  <c:v>12.4937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0</a:t>
                    </a:r>
                  </a:p>
                </c:rich>
              </c:tx>
              <c:dLblPos val="ctr"/>
              <c:showLegendKey val="0"/>
              <c:showVal val="1"/>
              <c:showCatName val="0"/>
              <c:showSerName val="0"/>
              <c:showPercent val="0"/>
              <c:showBubbleSize val="0"/>
            </c:dLbl>
            <c:dLbl>
              <c:idx val="2"/>
              <c:tx>
                <c:rich>
                  <a:bodyPr/>
                  <a:lstStyle/>
                  <a:p>
                    <a:r>
                      <a:t>14</a:t>
                    </a:r>
                  </a:p>
                </c:rich>
              </c:tx>
              <c:dLblPos val="ctr"/>
              <c:showLegendKey val="0"/>
              <c:showVal val="1"/>
              <c:showCatName val="0"/>
              <c:showSerName val="0"/>
              <c:showPercent val="0"/>
              <c:showBubbleSize val="0"/>
            </c:dLbl>
            <c:dLbl>
              <c:idx val="3"/>
              <c:tx>
                <c:rich>
                  <a:bodyPr/>
                  <a:lstStyle/>
                  <a:p>
                    <a:r>
                      <a:t>107</a:t>
                    </a:r>
                  </a:p>
                </c:rich>
              </c:tx>
              <c:dLblPos val="ctr"/>
              <c:showLegendKey val="0"/>
              <c:showVal val="1"/>
              <c:showCatName val="0"/>
              <c:showSerName val="0"/>
              <c:showPercent val="0"/>
              <c:showBubbleSize val="0"/>
            </c:dLbl>
            <c:dLbl>
              <c:idx val="4"/>
              <c:tx>
                <c:rich>
                  <a:bodyPr/>
                  <a:lstStyle/>
                  <a:p>
                    <a:r>
                      <a:t>15</a:t>
                    </a:r>
                  </a:p>
                </c:rich>
              </c:tx>
              <c:dLblPos val="ctr"/>
              <c:showLegendKey val="0"/>
              <c:showVal val="1"/>
              <c:showCatName val="0"/>
              <c:showSerName val="0"/>
              <c:showPercent val="0"/>
              <c:showBubbleSize val="0"/>
            </c:dLbl>
            <c:dLbl>
              <c:idx val="5"/>
              <c:tx>
                <c:rich>
                  <a:bodyPr/>
                  <a:lstStyle/>
                  <a:p>
                    <a:r>
                      <a:t>14</a:t>
                    </a:r>
                  </a:p>
                </c:rich>
              </c:tx>
              <c:dLblPos val="ctr"/>
              <c:showLegendKey val="0"/>
              <c:showVal val="1"/>
              <c:showCatName val="0"/>
              <c:showSerName val="0"/>
              <c:showPercent val="0"/>
              <c:showBubbleSize val="0"/>
            </c:dLbl>
            <c:dLbl>
              <c:idx val="6"/>
              <c:tx>
                <c:rich>
                  <a:bodyPr/>
                  <a:lstStyle/>
                  <a:p>
                    <a:r>
                      <a:t>16</a:t>
                    </a:r>
                  </a:p>
                </c:rich>
              </c:tx>
              <c:dLblPos val="ctr"/>
              <c:showLegendKey val="0"/>
              <c:showVal val="1"/>
              <c:showCatName val="0"/>
              <c:showSerName val="0"/>
              <c:showPercent val="0"/>
              <c:showBubbleSize val="0"/>
            </c:dLbl>
            <c:dLbl>
              <c:idx val="7"/>
              <c:tx>
                <c:rich>
                  <a:bodyPr/>
                  <a:lstStyle/>
                  <a:p>
                    <a:r>
                      <a:t>15</a:t>
                    </a:r>
                  </a:p>
                </c:rich>
              </c:tx>
              <c:dLblPos val="ctr"/>
              <c:showLegendKey val="0"/>
              <c:showVal val="1"/>
              <c:showCatName val="0"/>
              <c:showSerName val="0"/>
              <c:showPercent val="0"/>
              <c:showBubbleSize val="0"/>
            </c:dLbl>
            <c:dLbl>
              <c:idx val="8"/>
              <c:tx>
                <c:rich>
                  <a:bodyPr/>
                  <a:lstStyle/>
                  <a:p>
                    <a:r>
                      <a:t>12</a:t>
                    </a:r>
                  </a:p>
                </c:rich>
              </c:tx>
              <c:dLblPos val="ctr"/>
              <c:showLegendKey val="0"/>
              <c:showVal val="1"/>
              <c:showCatName val="0"/>
              <c:showSerName val="0"/>
              <c:showPercent val="0"/>
              <c:showBubbleSize val="0"/>
            </c:dLbl>
            <c:dLbl>
              <c:idx val="9"/>
              <c:tx>
                <c:rich>
                  <a:bodyPr/>
                  <a:lstStyle/>
                  <a:p>
                    <a:r>
                      <a:t>14</a:t>
                    </a:r>
                  </a:p>
                </c:rich>
              </c:tx>
              <c:dLblPos val="ctr"/>
              <c:showLegendKey val="0"/>
              <c:showVal val="1"/>
              <c:showCatName val="0"/>
              <c:showSerName val="0"/>
              <c:showPercent val="0"/>
              <c:showBubbleSize val="0"/>
            </c:dLbl>
            <c:dLbl>
              <c:idx val="10"/>
              <c:tx>
                <c:rich>
                  <a:bodyPr/>
                  <a:lstStyle/>
                  <a:p>
                    <a:r>
                      <a:t>12</a:t>
                    </a:r>
                  </a:p>
                </c:rich>
              </c:tx>
              <c:dLblPos val="ctr"/>
              <c:showLegendKey val="0"/>
              <c:showVal val="1"/>
              <c:showCatName val="0"/>
              <c:showSerName val="0"/>
              <c:showPercent val="0"/>
              <c:showBubbleSize val="0"/>
            </c:dLbl>
            <c:dLbl>
              <c:idx val="11"/>
              <c:tx>
                <c:rich>
                  <a:bodyPr/>
                  <a:lstStyle/>
                  <a:p>
                    <a:r>
                      <a:t>106</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Aperitif</c:v>
                </c:pt>
                <c:pt idx="4">
                  <c:v>Bloc</c:v>
                </c:pt>
                <c:pt idx="5">
                  <c:v>Specialite</c:v>
                </c:pt>
                <c:pt idx="6">
                  <c:v>Tranche A Froid</c:v>
                </c:pt>
                <c:pt idx="7">
                  <c:v>Pate Persillee</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029289647838048</c:v>
                </c:pt>
                <c:pt idx="2">
                  <c:v>0.13655417527005898</c:v>
                </c:pt>
                <c:pt idx="3">
                  <c:v>1.074541084268098</c:v>
                </c:pt>
                <c:pt idx="4">
                  <c:v>0.14780365174413887</c:v>
                </c:pt>
                <c:pt idx="5">
                  <c:v>0.13754349490137396</c:v>
                </c:pt>
                <c:pt idx="6">
                  <c:v>0.1649493429550351</c:v>
                </c:pt>
                <c:pt idx="7">
                  <c:v>0.15103180410754555</c:v>
                </c:pt>
                <c:pt idx="8">
                  <c:v>0.12175350159057534</c:v>
                </c:pt>
                <c:pt idx="9">
                  <c:v>0.14373749190355814</c:v>
                </c:pt>
                <c:pt idx="10">
                  <c:v>0.12133708047295301</c:v>
                </c:pt>
                <c:pt idx="11">
                  <c:v>1.055689525661815</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221.891116</c:v>
                </c:pt>
                <c:pt idx="2">
                  <c:v>10.303675</c:v>
                </c:pt>
                <c:pt idx="3">
                  <c:v>0.94095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20.99</a:t>
                    </a:r>
                  </a:p>
                </c:rich>
              </c:tx>
              <c:dLblPos val="t"/>
              <c:showLegendKey val="0"/>
              <c:showVal val="1"/>
              <c:showCatName val="0"/>
              <c:showSerName val="0"/>
              <c:showPercent val="0"/>
              <c:showBubbleSize val="0"/>
            </c:dLbl>
            <c:dLbl>
              <c:idx val="3"/>
              <c:tx>
                <c:rich>
                  <a:bodyPr/>
                  <a:lstStyle/>
                  <a:p>
                    <a:r>
                      <a:t>17.63</a:t>
                    </a:r>
                  </a:p>
                </c:rich>
              </c:tx>
              <c:dLblPos val="t"/>
              <c:showLegendKey val="0"/>
              <c:showVal val="1"/>
              <c:showCatName val="0"/>
              <c:showSerName val="0"/>
              <c:showPercent val="0"/>
              <c:showBubbleSize val="0"/>
            </c:dLbl>
            <c:dLbl>
              <c:idx val="4"/>
              <c:tx>
                <c:rich>
                  <a:bodyPr/>
                  <a:lstStyle/>
                  <a:p>
                    <a:r>
                      <a:t>0.00</a:t>
                    </a:r>
                  </a:p>
                </c:rich>
              </c:tx>
              <c:dLblPos val="t"/>
              <c:showLegendKey val="0"/>
              <c:showVal val="1"/>
              <c:showCatName val="0"/>
              <c:showSerName val="0"/>
              <c:showPercent val="0"/>
              <c:showBubbleSize val="0"/>
            </c:dLbl>
            <c:dLbl>
              <c:idx val="5"/>
              <c:tx>
                <c:rich>
                  <a:bodyPr/>
                  <a:lstStyle/>
                  <a:p>
                    <a:r>
                      <a:t>0.00</a:t>
                    </a:r>
                  </a:p>
                </c:rich>
              </c:tx>
              <c:dLblPos val="t"/>
              <c:showLegendKey val="0"/>
              <c:showVal val="1"/>
              <c:showCatName val="0"/>
              <c:showSerName val="0"/>
              <c:showPercent val="0"/>
              <c:showBubbleSize val="0"/>
            </c:dLbl>
            <c:dLbl>
              <c:idx val="6"/>
              <c:tx>
                <c:rich>
                  <a:bodyPr/>
                  <a:lstStyle/>
                  <a:p>
                    <a:r>
                      <a:t>0.00</a:t>
                    </a:r>
                  </a:p>
                </c:rich>
              </c:tx>
              <c:dLblPos val="t"/>
              <c:showLegendKey val="0"/>
              <c:showVal val="1"/>
              <c:showCatName val="0"/>
              <c:showSerName val="0"/>
              <c:showPercent val="0"/>
              <c:showBubbleSize val="0"/>
            </c:dLbl>
            <c:dLbl>
              <c:idx val="7"/>
              <c:tx>
                <c:rich>
                  <a:bodyPr/>
                  <a:lstStyle/>
                  <a:p>
                    <a:r>
                      <a:t>0.00</a:t>
                    </a:r>
                  </a:p>
                </c:rich>
              </c:tx>
              <c:dLblPos val="t"/>
              <c:showLegendKey val="0"/>
              <c:showVal val="1"/>
              <c:showCatName val="0"/>
              <c:showSerName val="0"/>
              <c:showPercent val="0"/>
              <c:showBubbleSize val="0"/>
            </c:dLbl>
            <c:dLbl>
              <c:idx val="8"/>
              <c:tx>
                <c:rich>
                  <a:bodyPr/>
                  <a:lstStyle/>
                  <a:p>
                    <a:r>
                      <a:t>0.00</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C$2:$C$12</c:f>
              <c:numCache>
                <c:formatCode>General</c:formatCode>
                <c:ptCount val="11"/>
                <c:pt idx="0">
                  <c:v>0.0</c:v>
                </c:pt>
                <c:pt idx="1">
                  <c:v>12.4506</c:v>
                </c:pt>
                <c:pt idx="2">
                  <c:v>20.9879</c:v>
                </c:pt>
                <c:pt idx="3">
                  <c:v>17.6275</c:v>
                </c:pt>
                <c:pt idx="4">
                  <c:v>0.0</c:v>
                </c:pt>
                <c:pt idx="5">
                  <c:v>0.0</c:v>
                </c:pt>
                <c:pt idx="6">
                  <c:v>0.0</c:v>
                </c:pt>
                <c:pt idx="7">
                  <c:v>0.0</c:v>
                </c:pt>
                <c:pt idx="8">
                  <c:v>0.0</c:v>
                </c:pt>
                <c:pt idx="9">
                  <c:v>0.0</c:v>
                </c:pt>
                <c:pt idx="10">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20</a:t>
                    </a:r>
                  </a:p>
                </c:rich>
              </c:tx>
              <c:dLblPos val="ctr"/>
              <c:showLegendKey val="0"/>
              <c:showVal val="1"/>
              <c:showCatName val="0"/>
              <c:showSerName val="0"/>
              <c:showPercent val="0"/>
              <c:showBubbleSize val="0"/>
            </c:dLbl>
            <c:dLbl>
              <c:idx val="3"/>
              <c:tx>
                <c:rich>
                  <a:bodyPr/>
                  <a:lstStyle/>
                  <a:p>
                    <a:r>
                      <a:t>117</a:t>
                    </a:r>
                  </a:p>
                </c:rich>
              </c:tx>
              <c:dLblPos val="ctr"/>
              <c:showLegendKey val="0"/>
              <c:showVal val="1"/>
              <c:showCatName val="0"/>
              <c:showSerName val="0"/>
              <c:showPercent val="0"/>
              <c:showBubbleSize val="0"/>
            </c:dLbl>
            <c:dLbl>
              <c:idx val="4"/>
              <c:tx>
                <c:rich>
                  <a:bodyPr/>
                  <a:lstStyle/>
                  <a:p>
                    <a:r>
                      <a:t>0</a:t>
                    </a:r>
                  </a:p>
                </c:rich>
              </c:tx>
              <c:dLblPos val="ctr"/>
              <c:showLegendKey val="0"/>
              <c:showVal val="1"/>
              <c:showCatName val="0"/>
              <c:showSerName val="0"/>
              <c:showPercent val="0"/>
              <c:showBubbleSize val="0"/>
            </c:dLbl>
            <c:dLbl>
              <c:idx val="5"/>
              <c:tx>
                <c:rich>
                  <a:bodyPr/>
                  <a:lstStyle/>
                  <a:p>
                    <a:r>
                      <a:t>0</a:t>
                    </a:r>
                  </a:p>
                </c:rich>
              </c:tx>
              <c:dLblPos val="ctr"/>
              <c:showLegendKey val="0"/>
              <c:showVal val="1"/>
              <c:showCatName val="0"/>
              <c:showSerName val="0"/>
              <c:showPercent val="0"/>
              <c:showBubbleSize val="0"/>
            </c:dLbl>
            <c:dLbl>
              <c:idx val="6"/>
              <c:tx>
                <c:rich>
                  <a:bodyPr/>
                  <a:lstStyle/>
                  <a:p>
                    <a:r>
                      <a:t>0</a:t>
                    </a:r>
                  </a:p>
                </c:rich>
              </c:tx>
              <c:dLblPos val="ctr"/>
              <c:showLegendKey val="0"/>
              <c:showVal val="1"/>
              <c:showCatName val="0"/>
              <c:showSerName val="0"/>
              <c:showPercent val="0"/>
              <c:showBubbleSize val="0"/>
            </c:dLbl>
            <c:dLbl>
              <c:idx val="7"/>
              <c:tx>
                <c:rich>
                  <a:bodyPr/>
                  <a:lstStyle/>
                  <a:p>
                    <a:r>
                      <a:t>0</a:t>
                    </a:r>
                  </a:p>
                </c:rich>
              </c:tx>
              <c:dLblPos val="ctr"/>
              <c:showLegendKey val="0"/>
              <c:showVal val="1"/>
              <c:showCatName val="0"/>
              <c:showSerName val="0"/>
              <c:showPercent val="0"/>
              <c:showBubbleSize val="0"/>
            </c:dLbl>
            <c:dLbl>
              <c:idx val="8"/>
              <c:tx>
                <c:rich>
                  <a:bodyPr/>
                  <a:lstStyle/>
                  <a:p>
                    <a:r>
                      <a:t>0</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1.1501084519499918</c:v>
                </c:pt>
                <c:pt idx="2">
                  <c:v>1.203036150835415</c:v>
                </c:pt>
                <c:pt idx="3">
                  <c:v>1.1657529749183873</c:v>
                </c:pt>
                <c:pt idx="4">
                  <c:v>0.0</c:v>
                </c:pt>
                <c:pt idx="5">
                  <c:v>0.0</c:v>
                </c:pt>
                <c:pt idx="6">
                  <c:v>0.0</c:v>
                </c:pt>
                <c:pt idx="7">
                  <c:v>0.0</c:v>
                </c:pt>
                <c:pt idx="8">
                  <c:v>0.0</c:v>
                </c:pt>
                <c:pt idx="9">
                  <c:v>0.0</c:v>
                </c:pt>
                <c:pt idx="1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221.891116</c:v>
                </c:pt>
                <c:pt idx="2">
                  <c:v>10.303675</c:v>
                </c:pt>
                <c:pt idx="3">
                  <c:v>0.94095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20.99</a:t>
                    </a:r>
                  </a:p>
                </c:rich>
              </c:tx>
              <c:dLblPos val="t"/>
              <c:showLegendKey val="0"/>
              <c:showVal val="1"/>
              <c:showCatName val="0"/>
              <c:showSerName val="0"/>
              <c:showPercent val="0"/>
              <c:showBubbleSize val="0"/>
            </c:dLbl>
            <c:dLbl>
              <c:idx val="3"/>
              <c:tx>
                <c:rich>
                  <a:bodyPr/>
                  <a:lstStyle/>
                  <a:p>
                    <a:r>
                      <a:t>17.63</a:t>
                    </a:r>
                  </a:p>
                </c:rich>
              </c:tx>
              <c:dLblPos val="t"/>
              <c:showLegendKey val="0"/>
              <c:showVal val="1"/>
              <c:showCatName val="0"/>
              <c:showSerName val="0"/>
              <c:showPercent val="0"/>
              <c:showBubbleSize val="0"/>
            </c:dLbl>
            <c:dLbl>
              <c:idx val="4"/>
              <c:tx>
                <c:rich>
                  <a:bodyPr/>
                  <a:lstStyle/>
                  <a:p>
                    <a:r>
                      <a:t>0.00</a:t>
                    </a:r>
                  </a:p>
                </c:rich>
              </c:tx>
              <c:dLblPos val="t"/>
              <c:showLegendKey val="0"/>
              <c:showVal val="1"/>
              <c:showCatName val="0"/>
              <c:showSerName val="0"/>
              <c:showPercent val="0"/>
              <c:showBubbleSize val="0"/>
            </c:dLbl>
            <c:dLbl>
              <c:idx val="5"/>
              <c:tx>
                <c:rich>
                  <a:bodyPr/>
                  <a:lstStyle/>
                  <a:p>
                    <a:r>
                      <a:t>0.00</a:t>
                    </a:r>
                  </a:p>
                </c:rich>
              </c:tx>
              <c:dLblPos val="t"/>
              <c:showLegendKey val="0"/>
              <c:showVal val="1"/>
              <c:showCatName val="0"/>
              <c:showSerName val="0"/>
              <c:showPercent val="0"/>
              <c:showBubbleSize val="0"/>
            </c:dLbl>
            <c:dLbl>
              <c:idx val="6"/>
              <c:tx>
                <c:rich>
                  <a:bodyPr/>
                  <a:lstStyle/>
                  <a:p>
                    <a:r>
                      <a:t>0.00</a:t>
                    </a:r>
                  </a:p>
                </c:rich>
              </c:tx>
              <c:dLblPos val="t"/>
              <c:showLegendKey val="0"/>
              <c:showVal val="1"/>
              <c:showCatName val="0"/>
              <c:showSerName val="0"/>
              <c:showPercent val="0"/>
              <c:showBubbleSize val="0"/>
            </c:dLbl>
            <c:dLbl>
              <c:idx val="7"/>
              <c:tx>
                <c:rich>
                  <a:bodyPr/>
                  <a:lstStyle/>
                  <a:p>
                    <a:r>
                      <a:t>0.00</a:t>
                    </a:r>
                  </a:p>
                </c:rich>
              </c:tx>
              <c:dLblPos val="t"/>
              <c:showLegendKey val="0"/>
              <c:showVal val="1"/>
              <c:showCatName val="0"/>
              <c:showSerName val="0"/>
              <c:showPercent val="0"/>
              <c:showBubbleSize val="0"/>
            </c:dLbl>
            <c:dLbl>
              <c:idx val="8"/>
              <c:tx>
                <c:rich>
                  <a:bodyPr/>
                  <a:lstStyle/>
                  <a:p>
                    <a:r>
                      <a:t>0.00</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C$2:$C$12</c:f>
              <c:numCache>
                <c:formatCode>General</c:formatCode>
                <c:ptCount val="11"/>
                <c:pt idx="0">
                  <c:v>0.0</c:v>
                </c:pt>
                <c:pt idx="1">
                  <c:v>12.4506</c:v>
                </c:pt>
                <c:pt idx="2">
                  <c:v>20.9879</c:v>
                </c:pt>
                <c:pt idx="3">
                  <c:v>17.6275</c:v>
                </c:pt>
                <c:pt idx="4">
                  <c:v>0.0</c:v>
                </c:pt>
                <c:pt idx="5">
                  <c:v>0.0</c:v>
                </c:pt>
                <c:pt idx="6">
                  <c:v>0.0</c:v>
                </c:pt>
                <c:pt idx="7">
                  <c:v>0.0</c:v>
                </c:pt>
                <c:pt idx="8">
                  <c:v>0.0</c:v>
                </c:pt>
                <c:pt idx="9">
                  <c:v>0.0</c:v>
                </c:pt>
                <c:pt idx="10">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20</a:t>
                    </a:r>
                  </a:p>
                </c:rich>
              </c:tx>
              <c:dLblPos val="ctr"/>
              <c:showLegendKey val="0"/>
              <c:showVal val="1"/>
              <c:showCatName val="0"/>
              <c:showSerName val="0"/>
              <c:showPercent val="0"/>
              <c:showBubbleSize val="0"/>
            </c:dLbl>
            <c:dLbl>
              <c:idx val="3"/>
              <c:tx>
                <c:rich>
                  <a:bodyPr/>
                  <a:lstStyle/>
                  <a:p>
                    <a:r>
                      <a:t>117</a:t>
                    </a:r>
                  </a:p>
                </c:rich>
              </c:tx>
              <c:dLblPos val="ctr"/>
              <c:showLegendKey val="0"/>
              <c:showVal val="1"/>
              <c:showCatName val="0"/>
              <c:showSerName val="0"/>
              <c:showPercent val="0"/>
              <c:showBubbleSize val="0"/>
            </c:dLbl>
            <c:dLbl>
              <c:idx val="4"/>
              <c:tx>
                <c:rich>
                  <a:bodyPr/>
                  <a:lstStyle/>
                  <a:p>
                    <a:r>
                      <a:t>0</a:t>
                    </a:r>
                  </a:p>
                </c:rich>
              </c:tx>
              <c:dLblPos val="ctr"/>
              <c:showLegendKey val="0"/>
              <c:showVal val="1"/>
              <c:showCatName val="0"/>
              <c:showSerName val="0"/>
              <c:showPercent val="0"/>
              <c:showBubbleSize val="0"/>
            </c:dLbl>
            <c:dLbl>
              <c:idx val="5"/>
              <c:tx>
                <c:rich>
                  <a:bodyPr/>
                  <a:lstStyle/>
                  <a:p>
                    <a:r>
                      <a:t>0</a:t>
                    </a:r>
                  </a:p>
                </c:rich>
              </c:tx>
              <c:dLblPos val="ctr"/>
              <c:showLegendKey val="0"/>
              <c:showVal val="1"/>
              <c:showCatName val="0"/>
              <c:showSerName val="0"/>
              <c:showPercent val="0"/>
              <c:showBubbleSize val="0"/>
            </c:dLbl>
            <c:dLbl>
              <c:idx val="6"/>
              <c:tx>
                <c:rich>
                  <a:bodyPr/>
                  <a:lstStyle/>
                  <a:p>
                    <a:r>
                      <a:t>0</a:t>
                    </a:r>
                  </a:p>
                </c:rich>
              </c:tx>
              <c:dLblPos val="ctr"/>
              <c:showLegendKey val="0"/>
              <c:showVal val="1"/>
              <c:showCatName val="0"/>
              <c:showSerName val="0"/>
              <c:showPercent val="0"/>
              <c:showBubbleSize val="0"/>
            </c:dLbl>
            <c:dLbl>
              <c:idx val="7"/>
              <c:tx>
                <c:rich>
                  <a:bodyPr/>
                  <a:lstStyle/>
                  <a:p>
                    <a:r>
                      <a:t>0</a:t>
                    </a:r>
                  </a:p>
                </c:rich>
              </c:tx>
              <c:dLblPos val="ctr"/>
              <c:showLegendKey val="0"/>
              <c:showVal val="1"/>
              <c:showCatName val="0"/>
              <c:showSerName val="0"/>
              <c:showPercent val="0"/>
              <c:showBubbleSize val="0"/>
            </c:dLbl>
            <c:dLbl>
              <c:idx val="8"/>
              <c:tx>
                <c:rich>
                  <a:bodyPr/>
                  <a:lstStyle/>
                  <a:p>
                    <a:r>
                      <a:t>0</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1.1501084519499918</c:v>
                </c:pt>
                <c:pt idx="2">
                  <c:v>1.203036150835415</c:v>
                </c:pt>
                <c:pt idx="3">
                  <c:v>1.1657529749183873</c:v>
                </c:pt>
                <c:pt idx="4">
                  <c:v>0.0</c:v>
                </c:pt>
                <c:pt idx="5">
                  <c:v>0.0</c:v>
                </c:pt>
                <c:pt idx="6">
                  <c:v>0.0</c:v>
                </c:pt>
                <c:pt idx="7">
                  <c:v>0.0</c:v>
                </c:pt>
                <c:pt idx="8">
                  <c:v>0.0</c:v>
                </c:pt>
                <c:pt idx="9">
                  <c:v>0.0</c:v>
                </c:pt>
                <c:pt idx="1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221.891116</c:v>
                </c:pt>
                <c:pt idx="2">
                  <c:v>10.303675</c:v>
                </c:pt>
                <c:pt idx="3">
                  <c:v>0.94095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20.99</a:t>
                    </a:r>
                  </a:p>
                </c:rich>
              </c:tx>
              <c:dLblPos val="t"/>
              <c:showLegendKey val="0"/>
              <c:showVal val="1"/>
              <c:showCatName val="0"/>
              <c:showSerName val="0"/>
              <c:showPercent val="0"/>
              <c:showBubbleSize val="0"/>
            </c:dLbl>
            <c:dLbl>
              <c:idx val="3"/>
              <c:tx>
                <c:rich>
                  <a:bodyPr/>
                  <a:lstStyle/>
                  <a:p>
                    <a:r>
                      <a:t>17.63</a:t>
                    </a:r>
                  </a:p>
                </c:rich>
              </c:tx>
              <c:dLblPos val="t"/>
              <c:showLegendKey val="0"/>
              <c:showVal val="1"/>
              <c:showCatName val="0"/>
              <c:showSerName val="0"/>
              <c:showPercent val="0"/>
              <c:showBubbleSize val="0"/>
            </c:dLbl>
            <c:dLbl>
              <c:idx val="4"/>
              <c:tx>
                <c:rich>
                  <a:bodyPr/>
                  <a:lstStyle/>
                  <a:p>
                    <a:r>
                      <a:t>0.00</a:t>
                    </a:r>
                  </a:p>
                </c:rich>
              </c:tx>
              <c:dLblPos val="t"/>
              <c:showLegendKey val="0"/>
              <c:showVal val="1"/>
              <c:showCatName val="0"/>
              <c:showSerName val="0"/>
              <c:showPercent val="0"/>
              <c:showBubbleSize val="0"/>
            </c:dLbl>
            <c:dLbl>
              <c:idx val="5"/>
              <c:tx>
                <c:rich>
                  <a:bodyPr/>
                  <a:lstStyle/>
                  <a:p>
                    <a:r>
                      <a:t>0.00</a:t>
                    </a:r>
                  </a:p>
                </c:rich>
              </c:tx>
              <c:dLblPos val="t"/>
              <c:showLegendKey val="0"/>
              <c:showVal val="1"/>
              <c:showCatName val="0"/>
              <c:showSerName val="0"/>
              <c:showPercent val="0"/>
              <c:showBubbleSize val="0"/>
            </c:dLbl>
            <c:dLbl>
              <c:idx val="6"/>
              <c:tx>
                <c:rich>
                  <a:bodyPr/>
                  <a:lstStyle/>
                  <a:p>
                    <a:r>
                      <a:t>0.00</a:t>
                    </a:r>
                  </a:p>
                </c:rich>
              </c:tx>
              <c:dLblPos val="t"/>
              <c:showLegendKey val="0"/>
              <c:showVal val="1"/>
              <c:showCatName val="0"/>
              <c:showSerName val="0"/>
              <c:showPercent val="0"/>
              <c:showBubbleSize val="0"/>
            </c:dLbl>
            <c:dLbl>
              <c:idx val="7"/>
              <c:tx>
                <c:rich>
                  <a:bodyPr/>
                  <a:lstStyle/>
                  <a:p>
                    <a:r>
                      <a:t>0.00</a:t>
                    </a:r>
                  </a:p>
                </c:rich>
              </c:tx>
              <c:dLblPos val="t"/>
              <c:showLegendKey val="0"/>
              <c:showVal val="1"/>
              <c:showCatName val="0"/>
              <c:showSerName val="0"/>
              <c:showPercent val="0"/>
              <c:showBubbleSize val="0"/>
            </c:dLbl>
            <c:dLbl>
              <c:idx val="8"/>
              <c:tx>
                <c:rich>
                  <a:bodyPr/>
                  <a:lstStyle/>
                  <a:p>
                    <a:r>
                      <a:t>0.00</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C$2:$C$12</c:f>
              <c:numCache>
                <c:formatCode>General</c:formatCode>
                <c:ptCount val="11"/>
                <c:pt idx="0">
                  <c:v>0.0</c:v>
                </c:pt>
                <c:pt idx="1">
                  <c:v>12.4506</c:v>
                </c:pt>
                <c:pt idx="2">
                  <c:v>20.9879</c:v>
                </c:pt>
                <c:pt idx="3">
                  <c:v>17.6275</c:v>
                </c:pt>
                <c:pt idx="4">
                  <c:v>0.0</c:v>
                </c:pt>
                <c:pt idx="5">
                  <c:v>0.0</c:v>
                </c:pt>
                <c:pt idx="6">
                  <c:v>0.0</c:v>
                </c:pt>
                <c:pt idx="7">
                  <c:v>0.0</c:v>
                </c:pt>
                <c:pt idx="8">
                  <c:v>0.0</c:v>
                </c:pt>
                <c:pt idx="9">
                  <c:v>0.0</c:v>
                </c:pt>
                <c:pt idx="10">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20</a:t>
                    </a:r>
                  </a:p>
                </c:rich>
              </c:tx>
              <c:dLblPos val="ctr"/>
              <c:showLegendKey val="0"/>
              <c:showVal val="1"/>
              <c:showCatName val="0"/>
              <c:showSerName val="0"/>
              <c:showPercent val="0"/>
              <c:showBubbleSize val="0"/>
            </c:dLbl>
            <c:dLbl>
              <c:idx val="3"/>
              <c:tx>
                <c:rich>
                  <a:bodyPr/>
                  <a:lstStyle/>
                  <a:p>
                    <a:r>
                      <a:t>117</a:t>
                    </a:r>
                  </a:p>
                </c:rich>
              </c:tx>
              <c:dLblPos val="ctr"/>
              <c:showLegendKey val="0"/>
              <c:showVal val="1"/>
              <c:showCatName val="0"/>
              <c:showSerName val="0"/>
              <c:showPercent val="0"/>
              <c:showBubbleSize val="0"/>
            </c:dLbl>
            <c:dLbl>
              <c:idx val="4"/>
              <c:tx>
                <c:rich>
                  <a:bodyPr/>
                  <a:lstStyle/>
                  <a:p>
                    <a:r>
                      <a:t>0</a:t>
                    </a:r>
                  </a:p>
                </c:rich>
              </c:tx>
              <c:dLblPos val="ctr"/>
              <c:showLegendKey val="0"/>
              <c:showVal val="1"/>
              <c:showCatName val="0"/>
              <c:showSerName val="0"/>
              <c:showPercent val="0"/>
              <c:showBubbleSize val="0"/>
            </c:dLbl>
            <c:dLbl>
              <c:idx val="5"/>
              <c:tx>
                <c:rich>
                  <a:bodyPr/>
                  <a:lstStyle/>
                  <a:p>
                    <a:r>
                      <a:t>0</a:t>
                    </a:r>
                  </a:p>
                </c:rich>
              </c:tx>
              <c:dLblPos val="ctr"/>
              <c:showLegendKey val="0"/>
              <c:showVal val="1"/>
              <c:showCatName val="0"/>
              <c:showSerName val="0"/>
              <c:showPercent val="0"/>
              <c:showBubbleSize val="0"/>
            </c:dLbl>
            <c:dLbl>
              <c:idx val="6"/>
              <c:tx>
                <c:rich>
                  <a:bodyPr/>
                  <a:lstStyle/>
                  <a:p>
                    <a:r>
                      <a:t>0</a:t>
                    </a:r>
                  </a:p>
                </c:rich>
              </c:tx>
              <c:dLblPos val="ctr"/>
              <c:showLegendKey val="0"/>
              <c:showVal val="1"/>
              <c:showCatName val="0"/>
              <c:showSerName val="0"/>
              <c:showPercent val="0"/>
              <c:showBubbleSize val="0"/>
            </c:dLbl>
            <c:dLbl>
              <c:idx val="7"/>
              <c:tx>
                <c:rich>
                  <a:bodyPr/>
                  <a:lstStyle/>
                  <a:p>
                    <a:r>
                      <a:t>0</a:t>
                    </a:r>
                  </a:p>
                </c:rich>
              </c:tx>
              <c:dLblPos val="ctr"/>
              <c:showLegendKey val="0"/>
              <c:showVal val="1"/>
              <c:showCatName val="0"/>
              <c:showSerName val="0"/>
              <c:showPercent val="0"/>
              <c:showBubbleSize val="0"/>
            </c:dLbl>
            <c:dLbl>
              <c:idx val="8"/>
              <c:tx>
                <c:rich>
                  <a:bodyPr/>
                  <a:lstStyle/>
                  <a:p>
                    <a:r>
                      <a:t>0</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1.1501084519499918</c:v>
                </c:pt>
                <c:pt idx="2">
                  <c:v>1.203036150835415</c:v>
                </c:pt>
                <c:pt idx="3">
                  <c:v>1.1657529749183873</c:v>
                </c:pt>
                <c:pt idx="4">
                  <c:v>0.0</c:v>
                </c:pt>
                <c:pt idx="5">
                  <c:v>0.0</c:v>
                </c:pt>
                <c:pt idx="6">
                  <c:v>0.0</c:v>
                </c:pt>
                <c:pt idx="7">
                  <c:v>0.0</c:v>
                </c:pt>
                <c:pt idx="8">
                  <c:v>0.0</c:v>
                </c:pt>
                <c:pt idx="9">
                  <c:v>0.0</c:v>
                </c:pt>
                <c:pt idx="1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221.891116</c:v>
                </c:pt>
                <c:pt idx="2">
                  <c:v>10.303675</c:v>
                </c:pt>
                <c:pt idx="3">
                  <c:v>0.94095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20.99</a:t>
                    </a:r>
                  </a:p>
                </c:rich>
              </c:tx>
              <c:dLblPos val="t"/>
              <c:showLegendKey val="0"/>
              <c:showVal val="1"/>
              <c:showCatName val="0"/>
              <c:showSerName val="0"/>
              <c:showPercent val="0"/>
              <c:showBubbleSize val="0"/>
            </c:dLbl>
            <c:dLbl>
              <c:idx val="3"/>
              <c:tx>
                <c:rich>
                  <a:bodyPr/>
                  <a:lstStyle/>
                  <a:p>
                    <a:r>
                      <a:t>17.63</a:t>
                    </a:r>
                  </a:p>
                </c:rich>
              </c:tx>
              <c:dLblPos val="t"/>
              <c:showLegendKey val="0"/>
              <c:showVal val="1"/>
              <c:showCatName val="0"/>
              <c:showSerName val="0"/>
              <c:showPercent val="0"/>
              <c:showBubbleSize val="0"/>
            </c:dLbl>
            <c:dLbl>
              <c:idx val="4"/>
              <c:tx>
                <c:rich>
                  <a:bodyPr/>
                  <a:lstStyle/>
                  <a:p>
                    <a:r>
                      <a:t>0.00</a:t>
                    </a:r>
                  </a:p>
                </c:rich>
              </c:tx>
              <c:dLblPos val="t"/>
              <c:showLegendKey val="0"/>
              <c:showVal val="1"/>
              <c:showCatName val="0"/>
              <c:showSerName val="0"/>
              <c:showPercent val="0"/>
              <c:showBubbleSize val="0"/>
            </c:dLbl>
            <c:dLbl>
              <c:idx val="5"/>
              <c:tx>
                <c:rich>
                  <a:bodyPr/>
                  <a:lstStyle/>
                  <a:p>
                    <a:r>
                      <a:t>0.00</a:t>
                    </a:r>
                  </a:p>
                </c:rich>
              </c:tx>
              <c:dLblPos val="t"/>
              <c:showLegendKey val="0"/>
              <c:showVal val="1"/>
              <c:showCatName val="0"/>
              <c:showSerName val="0"/>
              <c:showPercent val="0"/>
              <c:showBubbleSize val="0"/>
            </c:dLbl>
            <c:dLbl>
              <c:idx val="6"/>
              <c:tx>
                <c:rich>
                  <a:bodyPr/>
                  <a:lstStyle/>
                  <a:p>
                    <a:r>
                      <a:t>0.00</a:t>
                    </a:r>
                  </a:p>
                </c:rich>
              </c:tx>
              <c:dLblPos val="t"/>
              <c:showLegendKey val="0"/>
              <c:showVal val="1"/>
              <c:showCatName val="0"/>
              <c:showSerName val="0"/>
              <c:showPercent val="0"/>
              <c:showBubbleSize val="0"/>
            </c:dLbl>
            <c:dLbl>
              <c:idx val="7"/>
              <c:tx>
                <c:rich>
                  <a:bodyPr/>
                  <a:lstStyle/>
                  <a:p>
                    <a:r>
                      <a:t>0.00</a:t>
                    </a:r>
                  </a:p>
                </c:rich>
              </c:tx>
              <c:dLblPos val="t"/>
              <c:showLegendKey val="0"/>
              <c:showVal val="1"/>
              <c:showCatName val="0"/>
              <c:showSerName val="0"/>
              <c:showPercent val="0"/>
              <c:showBubbleSize val="0"/>
            </c:dLbl>
            <c:dLbl>
              <c:idx val="8"/>
              <c:tx>
                <c:rich>
                  <a:bodyPr/>
                  <a:lstStyle/>
                  <a:p>
                    <a:r>
                      <a:t>0.00</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C$2:$C$12</c:f>
              <c:numCache>
                <c:formatCode>General</c:formatCode>
                <c:ptCount val="11"/>
                <c:pt idx="0">
                  <c:v>0.0</c:v>
                </c:pt>
                <c:pt idx="1">
                  <c:v>12.4506</c:v>
                </c:pt>
                <c:pt idx="2">
                  <c:v>20.9879</c:v>
                </c:pt>
                <c:pt idx="3">
                  <c:v>17.6275</c:v>
                </c:pt>
                <c:pt idx="4">
                  <c:v>0.0</c:v>
                </c:pt>
                <c:pt idx="5">
                  <c:v>0.0</c:v>
                </c:pt>
                <c:pt idx="6">
                  <c:v>0.0</c:v>
                </c:pt>
                <c:pt idx="7">
                  <c:v>0.0</c:v>
                </c:pt>
                <c:pt idx="8">
                  <c:v>0.0</c:v>
                </c:pt>
                <c:pt idx="9">
                  <c:v>0.0</c:v>
                </c:pt>
                <c:pt idx="10">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20</a:t>
                    </a:r>
                  </a:p>
                </c:rich>
              </c:tx>
              <c:dLblPos val="ctr"/>
              <c:showLegendKey val="0"/>
              <c:showVal val="1"/>
              <c:showCatName val="0"/>
              <c:showSerName val="0"/>
              <c:showPercent val="0"/>
              <c:showBubbleSize val="0"/>
            </c:dLbl>
            <c:dLbl>
              <c:idx val="3"/>
              <c:tx>
                <c:rich>
                  <a:bodyPr/>
                  <a:lstStyle/>
                  <a:p>
                    <a:r>
                      <a:t>117</a:t>
                    </a:r>
                  </a:p>
                </c:rich>
              </c:tx>
              <c:dLblPos val="ctr"/>
              <c:showLegendKey val="0"/>
              <c:showVal val="1"/>
              <c:showCatName val="0"/>
              <c:showSerName val="0"/>
              <c:showPercent val="0"/>
              <c:showBubbleSize val="0"/>
            </c:dLbl>
            <c:dLbl>
              <c:idx val="4"/>
              <c:tx>
                <c:rich>
                  <a:bodyPr/>
                  <a:lstStyle/>
                  <a:p>
                    <a:r>
                      <a:t>0</a:t>
                    </a:r>
                  </a:p>
                </c:rich>
              </c:tx>
              <c:dLblPos val="ctr"/>
              <c:showLegendKey val="0"/>
              <c:showVal val="1"/>
              <c:showCatName val="0"/>
              <c:showSerName val="0"/>
              <c:showPercent val="0"/>
              <c:showBubbleSize val="0"/>
            </c:dLbl>
            <c:dLbl>
              <c:idx val="5"/>
              <c:tx>
                <c:rich>
                  <a:bodyPr/>
                  <a:lstStyle/>
                  <a:p>
                    <a:r>
                      <a:t>0</a:t>
                    </a:r>
                  </a:p>
                </c:rich>
              </c:tx>
              <c:dLblPos val="ctr"/>
              <c:showLegendKey val="0"/>
              <c:showVal val="1"/>
              <c:showCatName val="0"/>
              <c:showSerName val="0"/>
              <c:showPercent val="0"/>
              <c:showBubbleSize val="0"/>
            </c:dLbl>
            <c:dLbl>
              <c:idx val="6"/>
              <c:tx>
                <c:rich>
                  <a:bodyPr/>
                  <a:lstStyle/>
                  <a:p>
                    <a:r>
                      <a:t>0</a:t>
                    </a:r>
                  </a:p>
                </c:rich>
              </c:tx>
              <c:dLblPos val="ctr"/>
              <c:showLegendKey val="0"/>
              <c:showVal val="1"/>
              <c:showCatName val="0"/>
              <c:showSerName val="0"/>
              <c:showPercent val="0"/>
              <c:showBubbleSize val="0"/>
            </c:dLbl>
            <c:dLbl>
              <c:idx val="7"/>
              <c:tx>
                <c:rich>
                  <a:bodyPr/>
                  <a:lstStyle/>
                  <a:p>
                    <a:r>
                      <a:t>0</a:t>
                    </a:r>
                  </a:p>
                </c:rich>
              </c:tx>
              <c:dLblPos val="ctr"/>
              <c:showLegendKey val="0"/>
              <c:showVal val="1"/>
              <c:showCatName val="0"/>
              <c:showSerName val="0"/>
              <c:showPercent val="0"/>
              <c:showBubbleSize val="0"/>
            </c:dLbl>
            <c:dLbl>
              <c:idx val="8"/>
              <c:tx>
                <c:rich>
                  <a:bodyPr/>
                  <a:lstStyle/>
                  <a:p>
                    <a:r>
                      <a:t>0</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gredient A Chaud</c:v>
                </c:pt>
                <c:pt idx="1">
                  <c:v>Soft Cheese</c:v>
                </c:pt>
                <c:pt idx="2">
                  <c:v>Aperitif</c:v>
                </c:pt>
                <c:pt idx="3">
                  <c:v>Alternative Vegetale</c:v>
                </c:pt>
                <c:pt idx="4">
                  <c:v>Tranche A Froid</c:v>
                </c:pt>
                <c:pt idx="5">
                  <c:v>Bloc</c:v>
                </c:pt>
                <c:pt idx="6">
                  <c:v>Dessert</c:v>
                </c:pt>
                <c:pt idx="7">
                  <c:v>Specialite</c:v>
                </c:pt>
                <c:pt idx="8">
                  <c:v>Rape</c:v>
                </c:pt>
                <c:pt idx="9">
                  <c:v>Plat Chaud</c:v>
                </c:pt>
                <c:pt idx="10">
                  <c:v>Pate Persillee</c:v>
                </c:pt>
              </c:strCache>
            </c:strRef>
          </c:cat>
          <c:val>
            <c:numRef>
              <c:f>Sheet1!$B$2:$B$12</c:f>
              <c:numCache>
                <c:formatCode>General</c:formatCode>
                <c:ptCount val="11"/>
                <c:pt idx="0">
                  <c:v>0.0</c:v>
                </c:pt>
                <c:pt idx="1">
                  <c:v>1.1501084519499918</c:v>
                </c:pt>
                <c:pt idx="2">
                  <c:v>1.203036150835415</c:v>
                </c:pt>
                <c:pt idx="3">
                  <c:v>1.1657529749183873</c:v>
                </c:pt>
                <c:pt idx="4">
                  <c:v>0.0</c:v>
                </c:pt>
                <c:pt idx="5">
                  <c:v>0.0</c:v>
                </c:pt>
                <c:pt idx="6">
                  <c:v>0.0</c:v>
                </c:pt>
                <c:pt idx="7">
                  <c:v>0.0</c:v>
                </c:pt>
                <c:pt idx="8">
                  <c:v>0.0</c:v>
                </c:pt>
                <c:pt idx="9">
                  <c:v>0.0</c:v>
                </c:pt>
                <c:pt idx="1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64</c:v>
                </c:pt>
                <c:pt idx="1">
                  <c:v>173.916679</c:v>
                </c:pt>
                <c:pt idx="2">
                  <c:v>59.464931</c:v>
                </c:pt>
                <c:pt idx="3">
                  <c:v>40.274229</c:v>
                </c:pt>
                <c:pt idx="4">
                  <c:v>27.87398</c:v>
                </c:pt>
                <c:pt idx="5">
                  <c:v>19.120887</c:v>
                </c:pt>
                <c:pt idx="6">
                  <c:v>12.51123</c:v>
                </c:pt>
                <c:pt idx="7">
                  <c:v>10.017999</c:v>
                </c:pt>
                <c:pt idx="8">
                  <c:v>8.127698</c:v>
                </c:pt>
                <c:pt idx="9">
                  <c:v>5.679185</c:v>
                </c:pt>
                <c:pt idx="10">
                  <c:v>5.420683</c:v>
                </c:pt>
                <c:pt idx="11">
                  <c:v>0.452211</c:v>
                </c:pt>
                <c:pt idx="12">
                  <c:v>0.030515</c:v>
                </c:pt>
                <c:pt idx="13">
                  <c:v>0.0058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0</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2.74</a:t>
                    </a:r>
                  </a:p>
                </c:rich>
              </c:tx>
              <c:dLblPos val="t"/>
              <c:showLegendKey val="0"/>
              <c:showVal val="1"/>
              <c:showCatName val="0"/>
              <c:showSerName val="0"/>
              <c:showPercent val="0"/>
              <c:showBubbleSize val="0"/>
            </c:dLbl>
            <c:dLbl>
              <c:idx val="4"/>
              <c:tx>
                <c:rich>
                  <a:bodyPr/>
                  <a:lstStyle/>
                  <a:p>
                    <a:r>
                      <a:t>11.57</a:t>
                    </a:r>
                  </a:p>
                </c:rich>
              </c:tx>
              <c:dLblPos val="t"/>
              <c:showLegendKey val="0"/>
              <c:showVal val="1"/>
              <c:showCatName val="0"/>
              <c:showSerName val="0"/>
              <c:showPercent val="0"/>
              <c:showBubbleSize val="0"/>
            </c:dLbl>
            <c:dLbl>
              <c:idx val="5"/>
              <c:tx>
                <c:rich>
                  <a:bodyPr/>
                  <a:lstStyle/>
                  <a:p>
                    <a:r>
                      <a:t>12.16</a:t>
                    </a:r>
                  </a:p>
                </c:rich>
              </c:tx>
              <c:dLblPos val="t"/>
              <c:showLegendKey val="0"/>
              <c:showVal val="1"/>
              <c:showCatName val="0"/>
              <c:showSerName val="0"/>
              <c:showPercent val="0"/>
              <c:showBubbleSize val="0"/>
            </c:dLbl>
            <c:dLbl>
              <c:idx val="6"/>
              <c:tx>
                <c:rich>
                  <a:bodyPr/>
                  <a:lstStyle/>
                  <a:p>
                    <a:r>
                      <a:t>16.43</a:t>
                    </a:r>
                  </a:p>
                </c:rich>
              </c:tx>
              <c:dLblPos val="t"/>
              <c:showLegendKey val="0"/>
              <c:showVal val="1"/>
              <c:showCatName val="0"/>
              <c:showSerName val="0"/>
              <c:showPercent val="0"/>
              <c:showBubbleSize val="0"/>
            </c:dLbl>
            <c:dLbl>
              <c:idx val="7"/>
              <c:tx>
                <c:rich>
                  <a:bodyPr/>
                  <a:lstStyle/>
                  <a:p>
                    <a:r>
                      <a:t>20.26</a:t>
                    </a:r>
                  </a:p>
                </c:rich>
              </c:tx>
              <c:dLblPos val="t"/>
              <c:showLegendKey val="0"/>
              <c:showVal val="1"/>
              <c:showCatName val="0"/>
              <c:showSerName val="0"/>
              <c:showPercent val="0"/>
              <c:showBubbleSize val="0"/>
            </c:dLbl>
            <c:dLbl>
              <c:idx val="8"/>
              <c:tx>
                <c:rich>
                  <a:bodyPr/>
                  <a:lstStyle/>
                  <a:p>
                    <a:r>
                      <a:t>7.73</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6</a:t>
                    </a:r>
                  </a:p>
                </c:rich>
              </c:tx>
              <c:dLblPos val="t"/>
              <c:showLegendKey val="0"/>
              <c:showVal val="1"/>
              <c:showCatName val="0"/>
              <c:showSerName val="0"/>
              <c:showPercent val="0"/>
              <c:showBubbleSize val="0"/>
            </c:dLbl>
            <c:dLbl>
              <c:idx val="11"/>
              <c:tx>
                <c:rich>
                  <a:bodyPr/>
                  <a:lstStyle/>
                  <a:p>
                    <a:r>
                      <a:t>16.99</a:t>
                    </a:r>
                  </a:p>
                </c:rich>
              </c:tx>
              <c:dLblPos val="t"/>
              <c:showLegendKey val="0"/>
              <c:showVal val="1"/>
              <c:showCatName val="0"/>
              <c:showSerName val="0"/>
              <c:showPercent val="0"/>
              <c:showBubbleSize val="0"/>
            </c:dLbl>
            <c:dLbl>
              <c:idx val="12"/>
              <c:tx>
                <c:rich>
                  <a:bodyPr/>
                  <a:lstStyle/>
                  <a:p>
                    <a:r>
                      <a:t>19.70</a:t>
                    </a:r>
                  </a:p>
                </c:rich>
              </c:tx>
              <c:dLblPos val="t"/>
              <c:showLegendKey val="0"/>
              <c:showVal val="1"/>
              <c:showCatName val="0"/>
              <c:showSerName val="0"/>
              <c:showPercent val="0"/>
              <c:showBubbleSize val="0"/>
            </c:dLbl>
            <c:dLbl>
              <c:idx val="13"/>
              <c:tx>
                <c:rich>
                  <a:bodyPr/>
                  <a:lstStyle/>
                  <a:p>
                    <a:r>
                      <a:t>25.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4.1</c:v>
                </c:pt>
                <c:pt idx="1">
                  <c:v>11.5782</c:v>
                </c:pt>
                <c:pt idx="2">
                  <c:v>10.4901</c:v>
                </c:pt>
                <c:pt idx="3">
                  <c:v>12.7436</c:v>
                </c:pt>
                <c:pt idx="4">
                  <c:v>11.5665</c:v>
                </c:pt>
                <c:pt idx="5">
                  <c:v>12.1598</c:v>
                </c:pt>
                <c:pt idx="6">
                  <c:v>16.4333</c:v>
                </c:pt>
                <c:pt idx="7">
                  <c:v>20.2602</c:v>
                </c:pt>
                <c:pt idx="8">
                  <c:v>7.7271</c:v>
                </c:pt>
                <c:pt idx="9">
                  <c:v>7.5289</c:v>
                </c:pt>
                <c:pt idx="10">
                  <c:v>12.9587</c:v>
                </c:pt>
                <c:pt idx="11">
                  <c:v>16.9927</c:v>
                </c:pt>
                <c:pt idx="12">
                  <c:v>19.6998</c:v>
                </c:pt>
                <c:pt idx="13">
                  <c:v>25.62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8527</c:v>
                </c:pt>
                <c:pt idx="1">
                  <c:v>0.540282</c:v>
                </c:pt>
                <c:pt idx="2">
                  <c:v>0.0081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169367</c:v>
                </c:pt>
                <c:pt idx="1">
                  <c:v>4.366189</c:v>
                </c:pt>
                <c:pt idx="2">
                  <c:v>0.0659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8</a:t>
                    </a:r>
                  </a:p>
                </c:rich>
              </c:tx>
              <c:dLblPos val="ctr"/>
              <c:showLegendKey val="0"/>
              <c:showVal val="1"/>
              <c:showCatName val="0"/>
              <c:showSerName val="0"/>
              <c:showPercent val="0"/>
              <c:showBubbleSize val="0"/>
            </c:dLbl>
            <c:dLbl>
              <c:idx val="4"/>
              <c:tx>
                <c:rich>
                  <a:bodyPr/>
                  <a:lstStyle/>
                  <a:p>
                    <a:r>
                      <a:t>100</a:t>
                    </a:r>
                  </a:p>
                </c:rich>
              </c:tx>
              <c:dLblPos val="ctr"/>
              <c:showLegendKey val="0"/>
              <c:showVal val="1"/>
              <c:showCatName val="0"/>
              <c:showSerName val="0"/>
              <c:showPercent val="0"/>
              <c:showBubbleSize val="0"/>
            </c:dLbl>
            <c:dLbl>
              <c:idx val="5"/>
              <c:tx>
                <c:rich>
                  <a:bodyPr/>
                  <a:lstStyle/>
                  <a:p>
                    <a:r>
                      <a:t>115</a:t>
                    </a:r>
                  </a:p>
                </c:rich>
              </c:tx>
              <c:dLblPos val="ctr"/>
              <c:showLegendKey val="0"/>
              <c:showVal val="1"/>
              <c:showCatName val="0"/>
              <c:showSerName val="0"/>
              <c:showPercent val="0"/>
              <c:showBubbleSize val="0"/>
            </c:dLbl>
            <c:dLbl>
              <c:idx val="6"/>
              <c:tx>
                <c:rich>
                  <a:bodyPr/>
                  <a:lstStyle/>
                  <a:p>
                    <a:r>
                      <a:t>106</a:t>
                    </a:r>
                  </a:p>
                </c:rich>
              </c:tx>
              <c:dLblPos val="ctr"/>
              <c:showLegendKey val="0"/>
              <c:showVal val="1"/>
              <c:showCatName val="0"/>
              <c:showSerName val="0"/>
              <c:showPercent val="0"/>
              <c:showBubbleSize val="0"/>
            </c:dLbl>
            <c:dLbl>
              <c:idx val="7"/>
              <c:tx>
                <c:rich>
                  <a:bodyPr/>
                  <a:lstStyle/>
                  <a:p>
                    <a:r>
                      <a:t>112</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91</a:t>
                    </a:r>
                  </a:p>
                </c:rich>
              </c:tx>
              <c:dLblPos val="ctr"/>
              <c:showLegendKey val="0"/>
              <c:showVal val="1"/>
              <c:showCatName val="0"/>
              <c:showSerName val="0"/>
              <c:showPercent val="0"/>
              <c:showBubbleSize val="0"/>
            </c:dLbl>
            <c:dLbl>
              <c:idx val="11"/>
              <c:tx>
                <c:rich>
                  <a:bodyPr/>
                  <a:lstStyle/>
                  <a:p>
                    <a:r>
                      <a:t>137</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429569685505296</c:v>
                </c:pt>
                <c:pt idx="2">
                  <c:v>1.0186250579074414</c:v>
                </c:pt>
                <c:pt idx="3">
                  <c:v>1.081791881336964</c:v>
                </c:pt>
                <c:pt idx="4">
                  <c:v>0.9981211003145369</c:v>
                </c:pt>
                <c:pt idx="5">
                  <c:v>1.1537017203959814</c:v>
                </c:pt>
                <c:pt idx="6">
                  <c:v>1.0591193784469317</c:v>
                </c:pt>
                <c:pt idx="7">
                  <c:v>1.1184423662170084</c:v>
                </c:pt>
                <c:pt idx="8">
                  <c:v>0.9895265533636144</c:v>
                </c:pt>
                <c:pt idx="9">
                  <c:v>1.0387279828482863</c:v>
                </c:pt>
                <c:pt idx="10">
                  <c:v>0.914380875991333</c:v>
                </c:pt>
                <c:pt idx="11">
                  <c:v>1.370415266333516</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64</c:v>
                </c:pt>
                <c:pt idx="1">
                  <c:v>173.916679</c:v>
                </c:pt>
                <c:pt idx="2">
                  <c:v>59.464931</c:v>
                </c:pt>
                <c:pt idx="3">
                  <c:v>40.274229</c:v>
                </c:pt>
                <c:pt idx="4">
                  <c:v>27.87398</c:v>
                </c:pt>
                <c:pt idx="5">
                  <c:v>19.120887</c:v>
                </c:pt>
                <c:pt idx="6">
                  <c:v>12.51123</c:v>
                </c:pt>
                <c:pt idx="7">
                  <c:v>10.017999</c:v>
                </c:pt>
                <c:pt idx="8">
                  <c:v>8.127698</c:v>
                </c:pt>
                <c:pt idx="9">
                  <c:v>5.679185</c:v>
                </c:pt>
                <c:pt idx="10">
                  <c:v>5.420683</c:v>
                </c:pt>
                <c:pt idx="11">
                  <c:v>0.452211</c:v>
                </c:pt>
                <c:pt idx="12">
                  <c:v>0.030515</c:v>
                </c:pt>
                <c:pt idx="13">
                  <c:v>0.0058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0</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2.74</a:t>
                    </a:r>
                  </a:p>
                </c:rich>
              </c:tx>
              <c:dLblPos val="t"/>
              <c:showLegendKey val="0"/>
              <c:showVal val="1"/>
              <c:showCatName val="0"/>
              <c:showSerName val="0"/>
              <c:showPercent val="0"/>
              <c:showBubbleSize val="0"/>
            </c:dLbl>
            <c:dLbl>
              <c:idx val="4"/>
              <c:tx>
                <c:rich>
                  <a:bodyPr/>
                  <a:lstStyle/>
                  <a:p>
                    <a:r>
                      <a:t>11.57</a:t>
                    </a:r>
                  </a:p>
                </c:rich>
              </c:tx>
              <c:dLblPos val="t"/>
              <c:showLegendKey val="0"/>
              <c:showVal val="1"/>
              <c:showCatName val="0"/>
              <c:showSerName val="0"/>
              <c:showPercent val="0"/>
              <c:showBubbleSize val="0"/>
            </c:dLbl>
            <c:dLbl>
              <c:idx val="5"/>
              <c:tx>
                <c:rich>
                  <a:bodyPr/>
                  <a:lstStyle/>
                  <a:p>
                    <a:r>
                      <a:t>12.16</a:t>
                    </a:r>
                  </a:p>
                </c:rich>
              </c:tx>
              <c:dLblPos val="t"/>
              <c:showLegendKey val="0"/>
              <c:showVal val="1"/>
              <c:showCatName val="0"/>
              <c:showSerName val="0"/>
              <c:showPercent val="0"/>
              <c:showBubbleSize val="0"/>
            </c:dLbl>
            <c:dLbl>
              <c:idx val="6"/>
              <c:tx>
                <c:rich>
                  <a:bodyPr/>
                  <a:lstStyle/>
                  <a:p>
                    <a:r>
                      <a:t>16.43</a:t>
                    </a:r>
                  </a:p>
                </c:rich>
              </c:tx>
              <c:dLblPos val="t"/>
              <c:showLegendKey val="0"/>
              <c:showVal val="1"/>
              <c:showCatName val="0"/>
              <c:showSerName val="0"/>
              <c:showPercent val="0"/>
              <c:showBubbleSize val="0"/>
            </c:dLbl>
            <c:dLbl>
              <c:idx val="7"/>
              <c:tx>
                <c:rich>
                  <a:bodyPr/>
                  <a:lstStyle/>
                  <a:p>
                    <a:r>
                      <a:t>20.26</a:t>
                    </a:r>
                  </a:p>
                </c:rich>
              </c:tx>
              <c:dLblPos val="t"/>
              <c:showLegendKey val="0"/>
              <c:showVal val="1"/>
              <c:showCatName val="0"/>
              <c:showSerName val="0"/>
              <c:showPercent val="0"/>
              <c:showBubbleSize val="0"/>
            </c:dLbl>
            <c:dLbl>
              <c:idx val="8"/>
              <c:tx>
                <c:rich>
                  <a:bodyPr/>
                  <a:lstStyle/>
                  <a:p>
                    <a:r>
                      <a:t>7.73</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6</a:t>
                    </a:r>
                  </a:p>
                </c:rich>
              </c:tx>
              <c:dLblPos val="t"/>
              <c:showLegendKey val="0"/>
              <c:showVal val="1"/>
              <c:showCatName val="0"/>
              <c:showSerName val="0"/>
              <c:showPercent val="0"/>
              <c:showBubbleSize val="0"/>
            </c:dLbl>
            <c:dLbl>
              <c:idx val="11"/>
              <c:tx>
                <c:rich>
                  <a:bodyPr/>
                  <a:lstStyle/>
                  <a:p>
                    <a:r>
                      <a:t>16.99</a:t>
                    </a:r>
                  </a:p>
                </c:rich>
              </c:tx>
              <c:dLblPos val="t"/>
              <c:showLegendKey val="0"/>
              <c:showVal val="1"/>
              <c:showCatName val="0"/>
              <c:showSerName val="0"/>
              <c:showPercent val="0"/>
              <c:showBubbleSize val="0"/>
            </c:dLbl>
            <c:dLbl>
              <c:idx val="12"/>
              <c:tx>
                <c:rich>
                  <a:bodyPr/>
                  <a:lstStyle/>
                  <a:p>
                    <a:r>
                      <a:t>19.70</a:t>
                    </a:r>
                  </a:p>
                </c:rich>
              </c:tx>
              <c:dLblPos val="t"/>
              <c:showLegendKey val="0"/>
              <c:showVal val="1"/>
              <c:showCatName val="0"/>
              <c:showSerName val="0"/>
              <c:showPercent val="0"/>
              <c:showBubbleSize val="0"/>
            </c:dLbl>
            <c:dLbl>
              <c:idx val="13"/>
              <c:tx>
                <c:rich>
                  <a:bodyPr/>
                  <a:lstStyle/>
                  <a:p>
                    <a:r>
                      <a:t>25.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4.1</c:v>
                </c:pt>
                <c:pt idx="1">
                  <c:v>11.5782</c:v>
                </c:pt>
                <c:pt idx="2">
                  <c:v>10.4901</c:v>
                </c:pt>
                <c:pt idx="3">
                  <c:v>12.7436</c:v>
                </c:pt>
                <c:pt idx="4">
                  <c:v>11.5665</c:v>
                </c:pt>
                <c:pt idx="5">
                  <c:v>12.1598</c:v>
                </c:pt>
                <c:pt idx="6">
                  <c:v>16.4333</c:v>
                </c:pt>
                <c:pt idx="7">
                  <c:v>20.2602</c:v>
                </c:pt>
                <c:pt idx="8">
                  <c:v>7.7271</c:v>
                </c:pt>
                <c:pt idx="9">
                  <c:v>7.5289</c:v>
                </c:pt>
                <c:pt idx="10">
                  <c:v>12.9587</c:v>
                </c:pt>
                <c:pt idx="11">
                  <c:v>16.9927</c:v>
                </c:pt>
                <c:pt idx="12">
                  <c:v>19.6998</c:v>
                </c:pt>
                <c:pt idx="13">
                  <c:v>25.62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8</a:t>
                    </a:r>
                  </a:p>
                </c:rich>
              </c:tx>
              <c:dLblPos val="ctr"/>
              <c:showLegendKey val="0"/>
              <c:showVal val="1"/>
              <c:showCatName val="0"/>
              <c:showSerName val="0"/>
              <c:showPercent val="0"/>
              <c:showBubbleSize val="0"/>
            </c:dLbl>
            <c:dLbl>
              <c:idx val="4"/>
              <c:tx>
                <c:rich>
                  <a:bodyPr/>
                  <a:lstStyle/>
                  <a:p>
                    <a:r>
                      <a:t>100</a:t>
                    </a:r>
                  </a:p>
                </c:rich>
              </c:tx>
              <c:dLblPos val="ctr"/>
              <c:showLegendKey val="0"/>
              <c:showVal val="1"/>
              <c:showCatName val="0"/>
              <c:showSerName val="0"/>
              <c:showPercent val="0"/>
              <c:showBubbleSize val="0"/>
            </c:dLbl>
            <c:dLbl>
              <c:idx val="5"/>
              <c:tx>
                <c:rich>
                  <a:bodyPr/>
                  <a:lstStyle/>
                  <a:p>
                    <a:r>
                      <a:t>115</a:t>
                    </a:r>
                  </a:p>
                </c:rich>
              </c:tx>
              <c:dLblPos val="ctr"/>
              <c:showLegendKey val="0"/>
              <c:showVal val="1"/>
              <c:showCatName val="0"/>
              <c:showSerName val="0"/>
              <c:showPercent val="0"/>
              <c:showBubbleSize val="0"/>
            </c:dLbl>
            <c:dLbl>
              <c:idx val="6"/>
              <c:tx>
                <c:rich>
                  <a:bodyPr/>
                  <a:lstStyle/>
                  <a:p>
                    <a:r>
                      <a:t>106</a:t>
                    </a:r>
                  </a:p>
                </c:rich>
              </c:tx>
              <c:dLblPos val="ctr"/>
              <c:showLegendKey val="0"/>
              <c:showVal val="1"/>
              <c:showCatName val="0"/>
              <c:showSerName val="0"/>
              <c:showPercent val="0"/>
              <c:showBubbleSize val="0"/>
            </c:dLbl>
            <c:dLbl>
              <c:idx val="7"/>
              <c:tx>
                <c:rich>
                  <a:bodyPr/>
                  <a:lstStyle/>
                  <a:p>
                    <a:r>
                      <a:t>112</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91</a:t>
                    </a:r>
                  </a:p>
                </c:rich>
              </c:tx>
              <c:dLblPos val="ctr"/>
              <c:showLegendKey val="0"/>
              <c:showVal val="1"/>
              <c:showCatName val="0"/>
              <c:showSerName val="0"/>
              <c:showPercent val="0"/>
              <c:showBubbleSize val="0"/>
            </c:dLbl>
            <c:dLbl>
              <c:idx val="11"/>
              <c:tx>
                <c:rich>
                  <a:bodyPr/>
                  <a:lstStyle/>
                  <a:p>
                    <a:r>
                      <a:t>137</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429569685505296</c:v>
                </c:pt>
                <c:pt idx="2">
                  <c:v>1.0186250579074414</c:v>
                </c:pt>
                <c:pt idx="3">
                  <c:v>1.081791881336964</c:v>
                </c:pt>
                <c:pt idx="4">
                  <c:v>0.9981211003145369</c:v>
                </c:pt>
                <c:pt idx="5">
                  <c:v>1.1537017203959814</c:v>
                </c:pt>
                <c:pt idx="6">
                  <c:v>1.0591193784469317</c:v>
                </c:pt>
                <c:pt idx="7">
                  <c:v>1.1184423662170084</c:v>
                </c:pt>
                <c:pt idx="8">
                  <c:v>0.9895265533636144</c:v>
                </c:pt>
                <c:pt idx="9">
                  <c:v>1.0387279828482863</c:v>
                </c:pt>
                <c:pt idx="10">
                  <c:v>0.914380875991333</c:v>
                </c:pt>
                <c:pt idx="11">
                  <c:v>1.370415266333516</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64</c:v>
                </c:pt>
                <c:pt idx="1">
                  <c:v>173.916679</c:v>
                </c:pt>
                <c:pt idx="2">
                  <c:v>59.464931</c:v>
                </c:pt>
                <c:pt idx="3">
                  <c:v>40.274229</c:v>
                </c:pt>
                <c:pt idx="4">
                  <c:v>27.87398</c:v>
                </c:pt>
                <c:pt idx="5">
                  <c:v>19.120887</c:v>
                </c:pt>
                <c:pt idx="6">
                  <c:v>12.51123</c:v>
                </c:pt>
                <c:pt idx="7">
                  <c:v>10.017999</c:v>
                </c:pt>
                <c:pt idx="8">
                  <c:v>8.127698</c:v>
                </c:pt>
                <c:pt idx="9">
                  <c:v>5.679185</c:v>
                </c:pt>
                <c:pt idx="10">
                  <c:v>5.420683</c:v>
                </c:pt>
                <c:pt idx="11">
                  <c:v>0.452211</c:v>
                </c:pt>
                <c:pt idx="12">
                  <c:v>0.030515</c:v>
                </c:pt>
                <c:pt idx="13">
                  <c:v>0.0058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0</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2.74</a:t>
                    </a:r>
                  </a:p>
                </c:rich>
              </c:tx>
              <c:dLblPos val="t"/>
              <c:showLegendKey val="0"/>
              <c:showVal val="1"/>
              <c:showCatName val="0"/>
              <c:showSerName val="0"/>
              <c:showPercent val="0"/>
              <c:showBubbleSize val="0"/>
            </c:dLbl>
            <c:dLbl>
              <c:idx val="4"/>
              <c:tx>
                <c:rich>
                  <a:bodyPr/>
                  <a:lstStyle/>
                  <a:p>
                    <a:r>
                      <a:t>11.57</a:t>
                    </a:r>
                  </a:p>
                </c:rich>
              </c:tx>
              <c:dLblPos val="t"/>
              <c:showLegendKey val="0"/>
              <c:showVal val="1"/>
              <c:showCatName val="0"/>
              <c:showSerName val="0"/>
              <c:showPercent val="0"/>
              <c:showBubbleSize val="0"/>
            </c:dLbl>
            <c:dLbl>
              <c:idx val="5"/>
              <c:tx>
                <c:rich>
                  <a:bodyPr/>
                  <a:lstStyle/>
                  <a:p>
                    <a:r>
                      <a:t>12.16</a:t>
                    </a:r>
                  </a:p>
                </c:rich>
              </c:tx>
              <c:dLblPos val="t"/>
              <c:showLegendKey val="0"/>
              <c:showVal val="1"/>
              <c:showCatName val="0"/>
              <c:showSerName val="0"/>
              <c:showPercent val="0"/>
              <c:showBubbleSize val="0"/>
            </c:dLbl>
            <c:dLbl>
              <c:idx val="6"/>
              <c:tx>
                <c:rich>
                  <a:bodyPr/>
                  <a:lstStyle/>
                  <a:p>
                    <a:r>
                      <a:t>16.43</a:t>
                    </a:r>
                  </a:p>
                </c:rich>
              </c:tx>
              <c:dLblPos val="t"/>
              <c:showLegendKey val="0"/>
              <c:showVal val="1"/>
              <c:showCatName val="0"/>
              <c:showSerName val="0"/>
              <c:showPercent val="0"/>
              <c:showBubbleSize val="0"/>
            </c:dLbl>
            <c:dLbl>
              <c:idx val="7"/>
              <c:tx>
                <c:rich>
                  <a:bodyPr/>
                  <a:lstStyle/>
                  <a:p>
                    <a:r>
                      <a:t>20.26</a:t>
                    </a:r>
                  </a:p>
                </c:rich>
              </c:tx>
              <c:dLblPos val="t"/>
              <c:showLegendKey val="0"/>
              <c:showVal val="1"/>
              <c:showCatName val="0"/>
              <c:showSerName val="0"/>
              <c:showPercent val="0"/>
              <c:showBubbleSize val="0"/>
            </c:dLbl>
            <c:dLbl>
              <c:idx val="8"/>
              <c:tx>
                <c:rich>
                  <a:bodyPr/>
                  <a:lstStyle/>
                  <a:p>
                    <a:r>
                      <a:t>7.73</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6</a:t>
                    </a:r>
                  </a:p>
                </c:rich>
              </c:tx>
              <c:dLblPos val="t"/>
              <c:showLegendKey val="0"/>
              <c:showVal val="1"/>
              <c:showCatName val="0"/>
              <c:showSerName val="0"/>
              <c:showPercent val="0"/>
              <c:showBubbleSize val="0"/>
            </c:dLbl>
            <c:dLbl>
              <c:idx val="11"/>
              <c:tx>
                <c:rich>
                  <a:bodyPr/>
                  <a:lstStyle/>
                  <a:p>
                    <a:r>
                      <a:t>16.99</a:t>
                    </a:r>
                  </a:p>
                </c:rich>
              </c:tx>
              <c:dLblPos val="t"/>
              <c:showLegendKey val="0"/>
              <c:showVal val="1"/>
              <c:showCatName val="0"/>
              <c:showSerName val="0"/>
              <c:showPercent val="0"/>
              <c:showBubbleSize val="0"/>
            </c:dLbl>
            <c:dLbl>
              <c:idx val="12"/>
              <c:tx>
                <c:rich>
                  <a:bodyPr/>
                  <a:lstStyle/>
                  <a:p>
                    <a:r>
                      <a:t>19.70</a:t>
                    </a:r>
                  </a:p>
                </c:rich>
              </c:tx>
              <c:dLblPos val="t"/>
              <c:showLegendKey val="0"/>
              <c:showVal val="1"/>
              <c:showCatName val="0"/>
              <c:showSerName val="0"/>
              <c:showPercent val="0"/>
              <c:showBubbleSize val="0"/>
            </c:dLbl>
            <c:dLbl>
              <c:idx val="13"/>
              <c:tx>
                <c:rich>
                  <a:bodyPr/>
                  <a:lstStyle/>
                  <a:p>
                    <a:r>
                      <a:t>25.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4.1</c:v>
                </c:pt>
                <c:pt idx="1">
                  <c:v>11.5782</c:v>
                </c:pt>
                <c:pt idx="2">
                  <c:v>10.4901</c:v>
                </c:pt>
                <c:pt idx="3">
                  <c:v>12.7436</c:v>
                </c:pt>
                <c:pt idx="4">
                  <c:v>11.5665</c:v>
                </c:pt>
                <c:pt idx="5">
                  <c:v>12.1598</c:v>
                </c:pt>
                <c:pt idx="6">
                  <c:v>16.4333</c:v>
                </c:pt>
                <c:pt idx="7">
                  <c:v>20.2602</c:v>
                </c:pt>
                <c:pt idx="8">
                  <c:v>7.7271</c:v>
                </c:pt>
                <c:pt idx="9">
                  <c:v>7.5289</c:v>
                </c:pt>
                <c:pt idx="10">
                  <c:v>12.9587</c:v>
                </c:pt>
                <c:pt idx="11">
                  <c:v>16.9927</c:v>
                </c:pt>
                <c:pt idx="12">
                  <c:v>19.6998</c:v>
                </c:pt>
                <c:pt idx="13">
                  <c:v>25.62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8</a:t>
                    </a:r>
                  </a:p>
                </c:rich>
              </c:tx>
              <c:dLblPos val="ctr"/>
              <c:showLegendKey val="0"/>
              <c:showVal val="1"/>
              <c:showCatName val="0"/>
              <c:showSerName val="0"/>
              <c:showPercent val="0"/>
              <c:showBubbleSize val="0"/>
            </c:dLbl>
            <c:dLbl>
              <c:idx val="4"/>
              <c:tx>
                <c:rich>
                  <a:bodyPr/>
                  <a:lstStyle/>
                  <a:p>
                    <a:r>
                      <a:t>100</a:t>
                    </a:r>
                  </a:p>
                </c:rich>
              </c:tx>
              <c:dLblPos val="ctr"/>
              <c:showLegendKey val="0"/>
              <c:showVal val="1"/>
              <c:showCatName val="0"/>
              <c:showSerName val="0"/>
              <c:showPercent val="0"/>
              <c:showBubbleSize val="0"/>
            </c:dLbl>
            <c:dLbl>
              <c:idx val="5"/>
              <c:tx>
                <c:rich>
                  <a:bodyPr/>
                  <a:lstStyle/>
                  <a:p>
                    <a:r>
                      <a:t>115</a:t>
                    </a:r>
                  </a:p>
                </c:rich>
              </c:tx>
              <c:dLblPos val="ctr"/>
              <c:showLegendKey val="0"/>
              <c:showVal val="1"/>
              <c:showCatName val="0"/>
              <c:showSerName val="0"/>
              <c:showPercent val="0"/>
              <c:showBubbleSize val="0"/>
            </c:dLbl>
            <c:dLbl>
              <c:idx val="6"/>
              <c:tx>
                <c:rich>
                  <a:bodyPr/>
                  <a:lstStyle/>
                  <a:p>
                    <a:r>
                      <a:t>106</a:t>
                    </a:r>
                  </a:p>
                </c:rich>
              </c:tx>
              <c:dLblPos val="ctr"/>
              <c:showLegendKey val="0"/>
              <c:showVal val="1"/>
              <c:showCatName val="0"/>
              <c:showSerName val="0"/>
              <c:showPercent val="0"/>
              <c:showBubbleSize val="0"/>
            </c:dLbl>
            <c:dLbl>
              <c:idx val="7"/>
              <c:tx>
                <c:rich>
                  <a:bodyPr/>
                  <a:lstStyle/>
                  <a:p>
                    <a:r>
                      <a:t>112</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91</a:t>
                    </a:r>
                  </a:p>
                </c:rich>
              </c:tx>
              <c:dLblPos val="ctr"/>
              <c:showLegendKey val="0"/>
              <c:showVal val="1"/>
              <c:showCatName val="0"/>
              <c:showSerName val="0"/>
              <c:showPercent val="0"/>
              <c:showBubbleSize val="0"/>
            </c:dLbl>
            <c:dLbl>
              <c:idx val="11"/>
              <c:tx>
                <c:rich>
                  <a:bodyPr/>
                  <a:lstStyle/>
                  <a:p>
                    <a:r>
                      <a:t>137</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429569685505296</c:v>
                </c:pt>
                <c:pt idx="2">
                  <c:v>1.0186250579074414</c:v>
                </c:pt>
                <c:pt idx="3">
                  <c:v>1.081791881336964</c:v>
                </c:pt>
                <c:pt idx="4">
                  <c:v>0.9981211003145369</c:v>
                </c:pt>
                <c:pt idx="5">
                  <c:v>1.1537017203959814</c:v>
                </c:pt>
                <c:pt idx="6">
                  <c:v>1.0591193784469317</c:v>
                </c:pt>
                <c:pt idx="7">
                  <c:v>1.1184423662170084</c:v>
                </c:pt>
                <c:pt idx="8">
                  <c:v>0.9895265533636144</c:v>
                </c:pt>
                <c:pt idx="9">
                  <c:v>1.0387279828482863</c:v>
                </c:pt>
                <c:pt idx="10">
                  <c:v>0.914380875991333</c:v>
                </c:pt>
                <c:pt idx="11">
                  <c:v>1.370415266333516</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00564</c:v>
                </c:pt>
                <c:pt idx="1">
                  <c:v>173.916679</c:v>
                </c:pt>
                <c:pt idx="2">
                  <c:v>59.464931</c:v>
                </c:pt>
                <c:pt idx="3">
                  <c:v>40.274229</c:v>
                </c:pt>
                <c:pt idx="4">
                  <c:v>27.87398</c:v>
                </c:pt>
                <c:pt idx="5">
                  <c:v>19.120887</c:v>
                </c:pt>
                <c:pt idx="6">
                  <c:v>12.51123</c:v>
                </c:pt>
                <c:pt idx="7">
                  <c:v>10.017999</c:v>
                </c:pt>
                <c:pt idx="8">
                  <c:v>8.127698</c:v>
                </c:pt>
                <c:pt idx="9">
                  <c:v>5.679185</c:v>
                </c:pt>
                <c:pt idx="10">
                  <c:v>5.420683</c:v>
                </c:pt>
                <c:pt idx="11">
                  <c:v>0.452211</c:v>
                </c:pt>
                <c:pt idx="12">
                  <c:v>0.030515</c:v>
                </c:pt>
                <c:pt idx="13">
                  <c:v>0.00589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10</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0.49</a:t>
                    </a:r>
                  </a:p>
                </c:rich>
              </c:tx>
              <c:dLblPos val="t"/>
              <c:showLegendKey val="0"/>
              <c:showVal val="1"/>
              <c:showCatName val="0"/>
              <c:showSerName val="0"/>
              <c:showPercent val="0"/>
              <c:showBubbleSize val="0"/>
            </c:dLbl>
            <c:dLbl>
              <c:idx val="3"/>
              <c:tx>
                <c:rich>
                  <a:bodyPr/>
                  <a:lstStyle/>
                  <a:p>
                    <a:r>
                      <a:t>12.74</a:t>
                    </a:r>
                  </a:p>
                </c:rich>
              </c:tx>
              <c:dLblPos val="t"/>
              <c:showLegendKey val="0"/>
              <c:showVal val="1"/>
              <c:showCatName val="0"/>
              <c:showSerName val="0"/>
              <c:showPercent val="0"/>
              <c:showBubbleSize val="0"/>
            </c:dLbl>
            <c:dLbl>
              <c:idx val="4"/>
              <c:tx>
                <c:rich>
                  <a:bodyPr/>
                  <a:lstStyle/>
                  <a:p>
                    <a:r>
                      <a:t>11.57</a:t>
                    </a:r>
                  </a:p>
                </c:rich>
              </c:tx>
              <c:dLblPos val="t"/>
              <c:showLegendKey val="0"/>
              <c:showVal val="1"/>
              <c:showCatName val="0"/>
              <c:showSerName val="0"/>
              <c:showPercent val="0"/>
              <c:showBubbleSize val="0"/>
            </c:dLbl>
            <c:dLbl>
              <c:idx val="5"/>
              <c:tx>
                <c:rich>
                  <a:bodyPr/>
                  <a:lstStyle/>
                  <a:p>
                    <a:r>
                      <a:t>12.16</a:t>
                    </a:r>
                  </a:p>
                </c:rich>
              </c:tx>
              <c:dLblPos val="t"/>
              <c:showLegendKey val="0"/>
              <c:showVal val="1"/>
              <c:showCatName val="0"/>
              <c:showSerName val="0"/>
              <c:showPercent val="0"/>
              <c:showBubbleSize val="0"/>
            </c:dLbl>
            <c:dLbl>
              <c:idx val="6"/>
              <c:tx>
                <c:rich>
                  <a:bodyPr/>
                  <a:lstStyle/>
                  <a:p>
                    <a:r>
                      <a:t>16.43</a:t>
                    </a:r>
                  </a:p>
                </c:rich>
              </c:tx>
              <c:dLblPos val="t"/>
              <c:showLegendKey val="0"/>
              <c:showVal val="1"/>
              <c:showCatName val="0"/>
              <c:showSerName val="0"/>
              <c:showPercent val="0"/>
              <c:showBubbleSize val="0"/>
            </c:dLbl>
            <c:dLbl>
              <c:idx val="7"/>
              <c:tx>
                <c:rich>
                  <a:bodyPr/>
                  <a:lstStyle/>
                  <a:p>
                    <a:r>
                      <a:t>20.26</a:t>
                    </a:r>
                  </a:p>
                </c:rich>
              </c:tx>
              <c:dLblPos val="t"/>
              <c:showLegendKey val="0"/>
              <c:showVal val="1"/>
              <c:showCatName val="0"/>
              <c:showSerName val="0"/>
              <c:showPercent val="0"/>
              <c:showBubbleSize val="0"/>
            </c:dLbl>
            <c:dLbl>
              <c:idx val="8"/>
              <c:tx>
                <c:rich>
                  <a:bodyPr/>
                  <a:lstStyle/>
                  <a:p>
                    <a:r>
                      <a:t>7.73</a:t>
                    </a:r>
                  </a:p>
                </c:rich>
              </c:tx>
              <c:dLblPos val="t"/>
              <c:showLegendKey val="0"/>
              <c:showVal val="1"/>
              <c:showCatName val="0"/>
              <c:showSerName val="0"/>
              <c:showPercent val="0"/>
              <c:showBubbleSize val="0"/>
            </c:dLbl>
            <c:dLbl>
              <c:idx val="9"/>
              <c:tx>
                <c:rich>
                  <a:bodyPr/>
                  <a:lstStyle/>
                  <a:p>
                    <a:r>
                      <a:t>7.53</a:t>
                    </a:r>
                  </a:p>
                </c:rich>
              </c:tx>
              <c:dLblPos val="t"/>
              <c:showLegendKey val="0"/>
              <c:showVal val="1"/>
              <c:showCatName val="0"/>
              <c:showSerName val="0"/>
              <c:showPercent val="0"/>
              <c:showBubbleSize val="0"/>
            </c:dLbl>
            <c:dLbl>
              <c:idx val="10"/>
              <c:tx>
                <c:rich>
                  <a:bodyPr/>
                  <a:lstStyle/>
                  <a:p>
                    <a:r>
                      <a:t>12.96</a:t>
                    </a:r>
                  </a:p>
                </c:rich>
              </c:tx>
              <c:dLblPos val="t"/>
              <c:showLegendKey val="0"/>
              <c:showVal val="1"/>
              <c:showCatName val="0"/>
              <c:showSerName val="0"/>
              <c:showPercent val="0"/>
              <c:showBubbleSize val="0"/>
            </c:dLbl>
            <c:dLbl>
              <c:idx val="11"/>
              <c:tx>
                <c:rich>
                  <a:bodyPr/>
                  <a:lstStyle/>
                  <a:p>
                    <a:r>
                      <a:t>16.99</a:t>
                    </a:r>
                  </a:p>
                </c:rich>
              </c:tx>
              <c:dLblPos val="t"/>
              <c:showLegendKey val="0"/>
              <c:showVal val="1"/>
              <c:showCatName val="0"/>
              <c:showSerName val="0"/>
              <c:showPercent val="0"/>
              <c:showBubbleSize val="0"/>
            </c:dLbl>
            <c:dLbl>
              <c:idx val="12"/>
              <c:tx>
                <c:rich>
                  <a:bodyPr/>
                  <a:lstStyle/>
                  <a:p>
                    <a:r>
                      <a:t>19.70</a:t>
                    </a:r>
                  </a:p>
                </c:rich>
              </c:tx>
              <c:dLblPos val="t"/>
              <c:showLegendKey val="0"/>
              <c:showVal val="1"/>
              <c:showCatName val="0"/>
              <c:showSerName val="0"/>
              <c:showPercent val="0"/>
              <c:showBubbleSize val="0"/>
            </c:dLbl>
            <c:dLbl>
              <c:idx val="13"/>
              <c:tx>
                <c:rich>
                  <a:bodyPr/>
                  <a:lstStyle/>
                  <a:p>
                    <a:r>
                      <a:t>25.63</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C$2:$C$15</c:f>
              <c:numCache>
                <c:formatCode>General</c:formatCode>
                <c:ptCount val="14"/>
                <c:pt idx="0">
                  <c:v>14.1</c:v>
                </c:pt>
                <c:pt idx="1">
                  <c:v>11.5782</c:v>
                </c:pt>
                <c:pt idx="2">
                  <c:v>10.4901</c:v>
                </c:pt>
                <c:pt idx="3">
                  <c:v>12.7436</c:v>
                </c:pt>
                <c:pt idx="4">
                  <c:v>11.5665</c:v>
                </c:pt>
                <c:pt idx="5">
                  <c:v>12.1598</c:v>
                </c:pt>
                <c:pt idx="6">
                  <c:v>16.4333</c:v>
                </c:pt>
                <c:pt idx="7">
                  <c:v>20.2602</c:v>
                </c:pt>
                <c:pt idx="8">
                  <c:v>7.7271</c:v>
                </c:pt>
                <c:pt idx="9">
                  <c:v>7.5289</c:v>
                </c:pt>
                <c:pt idx="10">
                  <c:v>12.9587</c:v>
                </c:pt>
                <c:pt idx="11">
                  <c:v>16.9927</c:v>
                </c:pt>
                <c:pt idx="12">
                  <c:v>19.6998</c:v>
                </c:pt>
                <c:pt idx="13">
                  <c:v>25.62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14</a:t>
                    </a:r>
                  </a:p>
                </c:rich>
              </c:tx>
              <c:dLblPos val="ctr"/>
              <c:showLegendKey val="0"/>
              <c:showVal val="1"/>
              <c:showCatName val="0"/>
              <c:showSerName val="0"/>
              <c:showPercent val="0"/>
              <c:showBubbleSize val="0"/>
            </c:dLbl>
            <c:dLbl>
              <c:idx val="2"/>
              <c:tx>
                <c:rich>
                  <a:bodyPr/>
                  <a:lstStyle/>
                  <a:p>
                    <a:r>
                      <a:t>102</a:t>
                    </a:r>
                  </a:p>
                </c:rich>
              </c:tx>
              <c:dLblPos val="ctr"/>
              <c:showLegendKey val="0"/>
              <c:showVal val="1"/>
              <c:showCatName val="0"/>
              <c:showSerName val="0"/>
              <c:showPercent val="0"/>
              <c:showBubbleSize val="0"/>
            </c:dLbl>
            <c:dLbl>
              <c:idx val="3"/>
              <c:tx>
                <c:rich>
                  <a:bodyPr/>
                  <a:lstStyle/>
                  <a:p>
                    <a:r>
                      <a:t>108</a:t>
                    </a:r>
                  </a:p>
                </c:rich>
              </c:tx>
              <c:dLblPos val="ctr"/>
              <c:showLegendKey val="0"/>
              <c:showVal val="1"/>
              <c:showCatName val="0"/>
              <c:showSerName val="0"/>
              <c:showPercent val="0"/>
              <c:showBubbleSize val="0"/>
            </c:dLbl>
            <c:dLbl>
              <c:idx val="4"/>
              <c:tx>
                <c:rich>
                  <a:bodyPr/>
                  <a:lstStyle/>
                  <a:p>
                    <a:r>
                      <a:t>100</a:t>
                    </a:r>
                  </a:p>
                </c:rich>
              </c:tx>
              <c:dLblPos val="ctr"/>
              <c:showLegendKey val="0"/>
              <c:showVal val="1"/>
              <c:showCatName val="0"/>
              <c:showSerName val="0"/>
              <c:showPercent val="0"/>
              <c:showBubbleSize val="0"/>
            </c:dLbl>
            <c:dLbl>
              <c:idx val="5"/>
              <c:tx>
                <c:rich>
                  <a:bodyPr/>
                  <a:lstStyle/>
                  <a:p>
                    <a:r>
                      <a:t>115</a:t>
                    </a:r>
                  </a:p>
                </c:rich>
              </c:tx>
              <c:dLblPos val="ctr"/>
              <c:showLegendKey val="0"/>
              <c:showVal val="1"/>
              <c:showCatName val="0"/>
              <c:showSerName val="0"/>
              <c:showPercent val="0"/>
              <c:showBubbleSize val="0"/>
            </c:dLbl>
            <c:dLbl>
              <c:idx val="6"/>
              <c:tx>
                <c:rich>
                  <a:bodyPr/>
                  <a:lstStyle/>
                  <a:p>
                    <a:r>
                      <a:t>106</a:t>
                    </a:r>
                  </a:p>
                </c:rich>
              </c:tx>
              <c:dLblPos val="ctr"/>
              <c:showLegendKey val="0"/>
              <c:showVal val="1"/>
              <c:showCatName val="0"/>
              <c:showSerName val="0"/>
              <c:showPercent val="0"/>
              <c:showBubbleSize val="0"/>
            </c:dLbl>
            <c:dLbl>
              <c:idx val="7"/>
              <c:tx>
                <c:rich>
                  <a:bodyPr/>
                  <a:lstStyle/>
                  <a:p>
                    <a:r>
                      <a:t>112</a:t>
                    </a:r>
                  </a:p>
                </c:rich>
              </c:tx>
              <c:dLblPos val="ctr"/>
              <c:showLegendKey val="0"/>
              <c:showVal val="1"/>
              <c:showCatName val="0"/>
              <c:showSerName val="0"/>
              <c:showPercent val="0"/>
              <c:showBubbleSize val="0"/>
            </c:dLbl>
            <c:dLbl>
              <c:idx val="8"/>
              <c:tx>
                <c:rich>
                  <a:bodyPr/>
                  <a:lstStyle/>
                  <a:p>
                    <a:r>
                      <a:t>99</a:t>
                    </a:r>
                  </a:p>
                </c:rich>
              </c:tx>
              <c:dLblPos val="ctr"/>
              <c:showLegendKey val="0"/>
              <c:showVal val="1"/>
              <c:showCatName val="0"/>
              <c:showSerName val="0"/>
              <c:showPercent val="0"/>
              <c:showBubbleSize val="0"/>
            </c:dLbl>
            <c:dLbl>
              <c:idx val="9"/>
              <c:tx>
                <c:rich>
                  <a:bodyPr/>
                  <a:lstStyle/>
                  <a:p>
                    <a:r>
                      <a:t>104</a:t>
                    </a:r>
                  </a:p>
                </c:rich>
              </c:tx>
              <c:dLblPos val="ctr"/>
              <c:showLegendKey val="0"/>
              <c:showVal val="1"/>
              <c:showCatName val="0"/>
              <c:showSerName val="0"/>
              <c:showPercent val="0"/>
              <c:showBubbleSize val="0"/>
            </c:dLbl>
            <c:dLbl>
              <c:idx val="10"/>
              <c:tx>
                <c:rich>
                  <a:bodyPr/>
                  <a:lstStyle/>
                  <a:p>
                    <a:r>
                      <a:t>91</a:t>
                    </a:r>
                  </a:p>
                </c:rich>
              </c:tx>
              <c:dLblPos val="ctr"/>
              <c:showLegendKey val="0"/>
              <c:showVal val="1"/>
              <c:showCatName val="0"/>
              <c:showSerName val="0"/>
              <c:showPercent val="0"/>
              <c:showBubbleSize val="0"/>
            </c:dLbl>
            <c:dLbl>
              <c:idx val="11"/>
              <c:tx>
                <c:rich>
                  <a:bodyPr/>
                  <a:lstStyle/>
                  <a:p>
                    <a:r>
                      <a:t>137</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heese With Hard And Semi-Hard Texture</c:v>
                </c:pt>
                <c:pt idx="1">
                  <c:v>Soft Cheese</c:v>
                </c:pt>
                <c:pt idx="2">
                  <c:v>Rape</c:v>
                </c:pt>
                <c:pt idx="3">
                  <c:v>Bloc</c:v>
                </c:pt>
                <c:pt idx="4">
                  <c:v>Specialite</c:v>
                </c:pt>
                <c:pt idx="5">
                  <c:v>Tranche A Froid</c:v>
                </c:pt>
                <c:pt idx="6">
                  <c:v>Pate Persillee</c:v>
                </c:pt>
                <c:pt idx="7">
                  <c:v>Aperitif</c:v>
                </c:pt>
                <c:pt idx="8">
                  <c:v>Ingredient A Chaud</c:v>
                </c:pt>
                <c:pt idx="9">
                  <c:v>Dessert</c:v>
                </c:pt>
                <c:pt idx="10">
                  <c:v>Plat Chaud</c:v>
                </c:pt>
                <c:pt idx="11">
                  <c:v>Alternative Vegetale</c:v>
                </c:pt>
                <c:pt idx="12">
                  <c:v>Snack</c:v>
                </c:pt>
                <c:pt idx="13">
                  <c:v>Cheese With Soft Texture</c:v>
                </c:pt>
              </c:strCache>
            </c:strRef>
          </c:cat>
          <c:val>
            <c:numRef>
              <c:f>Sheet1!$B$2:$B$15</c:f>
              <c:numCache>
                <c:formatCode>General</c:formatCode>
                <c:ptCount val="14"/>
                <c:pt idx="0">
                  <c:v>0.0</c:v>
                </c:pt>
                <c:pt idx="1">
                  <c:v>1.1429569685505296</c:v>
                </c:pt>
                <c:pt idx="2">
                  <c:v>1.0186250579074414</c:v>
                </c:pt>
                <c:pt idx="3">
                  <c:v>1.081791881336964</c:v>
                </c:pt>
                <c:pt idx="4">
                  <c:v>0.9981211003145369</c:v>
                </c:pt>
                <c:pt idx="5">
                  <c:v>1.1537017203959814</c:v>
                </c:pt>
                <c:pt idx="6">
                  <c:v>1.0591193784469317</c:v>
                </c:pt>
                <c:pt idx="7">
                  <c:v>1.1184423662170084</c:v>
                </c:pt>
                <c:pt idx="8">
                  <c:v>0.9895265533636144</c:v>
                </c:pt>
                <c:pt idx="9">
                  <c:v>1.0387279828482863</c:v>
                </c:pt>
                <c:pt idx="10">
                  <c:v>0.914380875991333</c:v>
                </c:pt>
                <c:pt idx="11">
                  <c:v>1.370415266333516</c:v>
                </c:pt>
                <c:pt idx="12">
                  <c:v>0.0</c:v>
                </c:pt>
                <c:pt idx="13">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00533</c:v>
                </c:pt>
                <c:pt idx="1">
                  <c:v>450.372441</c:v>
                </c:pt>
                <c:pt idx="2">
                  <c:v>296.462936</c:v>
                </c:pt>
                <c:pt idx="3">
                  <c:v>201.565162</c:v>
                </c:pt>
                <c:pt idx="4">
                  <c:v>174.768346</c:v>
                </c:pt>
                <c:pt idx="5">
                  <c:v>137.167389</c:v>
                </c:pt>
                <c:pt idx="6">
                  <c:v>59.466859</c:v>
                </c:pt>
                <c:pt idx="7">
                  <c:v>54.700438</c:v>
                </c:pt>
                <c:pt idx="8">
                  <c:v>40.762296</c:v>
                </c:pt>
                <c:pt idx="9">
                  <c:v>40.276411</c:v>
                </c:pt>
                <c:pt idx="10">
                  <c:v>27.881793</c:v>
                </c:pt>
                <c:pt idx="11">
                  <c:v>19.122785</c:v>
                </c:pt>
                <c:pt idx="12">
                  <c:v>12.511972</c:v>
                </c:pt>
                <c:pt idx="13">
                  <c:v>8.130613</c:v>
                </c:pt>
                <c:pt idx="14">
                  <c:v>5.680348</c:v>
                </c:pt>
                <c:pt idx="15">
                  <c:v>5.422608</c:v>
                </c:pt>
                <c:pt idx="16">
                  <c:v>3.434821</c:v>
                </c:pt>
                <c:pt idx="17">
                  <c:v>0.185278</c:v>
                </c:pt>
                <c:pt idx="18">
                  <c:v>0.030539</c:v>
                </c:pt>
                <c:pt idx="19">
                  <c:v>0.004389</c:v>
                </c:pt>
                <c:pt idx="20">
                  <c:v>0.00150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8.90</a:t>
                    </a:r>
                  </a:p>
                </c:rich>
              </c:tx>
              <c:dLblPos val="t"/>
              <c:showLegendKey val="0"/>
              <c:showVal val="1"/>
              <c:showCatName val="0"/>
              <c:showSerName val="0"/>
              <c:showPercent val="0"/>
              <c:showBubbleSize val="0"/>
            </c:dLbl>
            <c:dLbl>
              <c:idx val="3"/>
              <c:tx>
                <c:rich>
                  <a:bodyPr/>
                  <a:lstStyle/>
                  <a:p>
                    <a:r>
                      <a:t>13.64</a:t>
                    </a:r>
                  </a:p>
                </c:rich>
              </c:tx>
              <c:dLblPos val="t"/>
              <c:showLegendKey val="0"/>
              <c:showVal val="1"/>
              <c:showCatName val="0"/>
              <c:showSerName val="0"/>
              <c:showPercent val="0"/>
              <c:showBubbleSize val="0"/>
            </c:dLbl>
            <c:dLbl>
              <c:idx val="4"/>
              <c:tx>
                <c:rich>
                  <a:bodyPr/>
                  <a:lstStyle/>
                  <a:p>
                    <a:r>
                      <a:t>11.11</a:t>
                    </a:r>
                  </a:p>
                </c:rich>
              </c:tx>
              <c:dLblPos val="t"/>
              <c:showLegendKey val="0"/>
              <c:showVal val="1"/>
              <c:showCatName val="0"/>
              <c:showSerName val="0"/>
              <c:showPercent val="0"/>
              <c:showBubbleSize val="0"/>
            </c:dLbl>
            <c:dLbl>
              <c:idx val="5"/>
              <c:tx>
                <c:rich>
                  <a:bodyPr/>
                  <a:lstStyle/>
                  <a:p>
                    <a:r>
                      <a:t>12.12</a:t>
                    </a:r>
                  </a:p>
                </c:rich>
              </c:tx>
              <c:dLblPos val="t"/>
              <c:showLegendKey val="0"/>
              <c:showVal val="1"/>
              <c:showCatName val="0"/>
              <c:showSerName val="0"/>
              <c:showPercent val="0"/>
              <c:showBubbleSize val="0"/>
            </c:dLbl>
            <c:dLbl>
              <c:idx val="6"/>
              <c:tx>
                <c:rich>
                  <a:bodyPr/>
                  <a:lstStyle/>
                  <a:p>
                    <a:r>
                      <a:t>10.49</a:t>
                    </a:r>
                  </a:p>
                </c:rich>
              </c:tx>
              <c:dLblPos val="t"/>
              <c:showLegendKey val="0"/>
              <c:showVal val="1"/>
              <c:showCatName val="0"/>
              <c:showSerName val="0"/>
              <c:showPercent val="0"/>
              <c:showBubbleSize val="0"/>
            </c:dLbl>
            <c:dLbl>
              <c:idx val="7"/>
              <c:tx>
                <c:rich>
                  <a:bodyPr/>
                  <a:lstStyle/>
                  <a:p>
                    <a:r>
                      <a:t>19.86</a:t>
                    </a:r>
                  </a:p>
                </c:rich>
              </c:tx>
              <c:dLblPos val="t"/>
              <c:showLegendKey val="0"/>
              <c:showVal val="1"/>
              <c:showCatName val="0"/>
              <c:showSerName val="0"/>
              <c:showPercent val="0"/>
              <c:showBubbleSize val="0"/>
            </c:dLbl>
            <c:dLbl>
              <c:idx val="8"/>
              <c:tx>
                <c:rich>
                  <a:bodyPr/>
                  <a:lstStyle/>
                  <a:p>
                    <a:r>
                      <a:t>19.23</a:t>
                    </a:r>
                  </a:p>
                </c:rich>
              </c:tx>
              <c:dLblPos val="t"/>
              <c:showLegendKey val="0"/>
              <c:showVal val="1"/>
              <c:showCatName val="0"/>
              <c:showSerName val="0"/>
              <c:showPercent val="0"/>
              <c:showBubbleSize val="0"/>
            </c:dLbl>
            <c:dLbl>
              <c:idx val="9"/>
              <c:tx>
                <c:rich>
                  <a:bodyPr/>
                  <a:lstStyle/>
                  <a:p>
                    <a:r>
                      <a:t>12.74</a:t>
                    </a:r>
                  </a:p>
                </c:rich>
              </c:tx>
              <c:dLblPos val="t"/>
              <c:showLegendKey val="0"/>
              <c:showVal val="1"/>
              <c:showCatName val="0"/>
              <c:showSerName val="0"/>
              <c:showPercent val="0"/>
              <c:showBubbleSize val="0"/>
            </c:dLbl>
            <c:dLbl>
              <c:idx val="10"/>
              <c:tx>
                <c:rich>
                  <a:bodyPr/>
                  <a:lstStyle/>
                  <a:p>
                    <a:r>
                      <a:t>11.56</a:t>
                    </a:r>
                  </a:p>
                </c:rich>
              </c:tx>
              <c:dLblPos val="t"/>
              <c:showLegendKey val="0"/>
              <c:showVal val="1"/>
              <c:showCatName val="0"/>
              <c:showSerName val="0"/>
              <c:showPercent val="0"/>
              <c:showBubbleSize val="0"/>
            </c:dLbl>
            <c:dLbl>
              <c:idx val="11"/>
              <c:tx>
                <c:rich>
                  <a:bodyPr/>
                  <a:lstStyle/>
                  <a:p>
                    <a:r>
                      <a:t>12.16</a:t>
                    </a:r>
                  </a:p>
                </c:rich>
              </c:tx>
              <c:dLblPos val="t"/>
              <c:showLegendKey val="0"/>
              <c:showVal val="1"/>
              <c:showCatName val="0"/>
              <c:showSerName val="0"/>
              <c:showPercent val="0"/>
              <c:showBubbleSize val="0"/>
            </c:dLbl>
            <c:dLbl>
              <c:idx val="12"/>
              <c:tx>
                <c:rich>
                  <a:bodyPr/>
                  <a:lstStyle/>
                  <a:p>
                    <a:r>
                      <a:t>16.42</a:t>
                    </a:r>
                  </a:p>
                </c:rich>
              </c:tx>
              <c:dLblPos val="t"/>
              <c:showLegendKey val="0"/>
              <c:showVal val="1"/>
              <c:showCatName val="0"/>
              <c:showSerName val="0"/>
              <c:showPercent val="0"/>
              <c:showBubbleSize val="0"/>
            </c:dLbl>
            <c:dLbl>
              <c:idx val="13"/>
              <c:tx>
                <c:rich>
                  <a:bodyPr/>
                  <a:lstStyle/>
                  <a:p>
                    <a:r>
                      <a:t>7.72</a:t>
                    </a:r>
                  </a:p>
                </c:rich>
              </c:tx>
              <c:dLblPos val="t"/>
              <c:showLegendKey val="0"/>
              <c:showVal val="1"/>
              <c:showCatName val="0"/>
              <c:showSerName val="0"/>
              <c:showPercent val="0"/>
              <c:showBubbleSize val="0"/>
            </c:dLbl>
            <c:dLbl>
              <c:idx val="14"/>
              <c:tx>
                <c:rich>
                  <a:bodyPr/>
                  <a:lstStyle/>
                  <a:p>
                    <a:r>
                      <a:t>7.53</a:t>
                    </a:r>
                  </a:p>
                </c:rich>
              </c:tx>
              <c:dLblPos val="t"/>
              <c:showLegendKey val="0"/>
              <c:showVal val="1"/>
              <c:showCatName val="0"/>
              <c:showSerName val="0"/>
              <c:showPercent val="0"/>
              <c:showBubbleSize val="0"/>
            </c:dLbl>
            <c:dLbl>
              <c:idx val="15"/>
              <c:tx>
                <c:rich>
                  <a:bodyPr/>
                  <a:lstStyle/>
                  <a:p>
                    <a:r>
                      <a:t>12.94</a:t>
                    </a:r>
                  </a:p>
                </c:rich>
              </c:tx>
              <c:dLblPos val="t"/>
              <c:showLegendKey val="0"/>
              <c:showVal val="1"/>
              <c:showCatName val="0"/>
              <c:showSerName val="0"/>
              <c:showPercent val="0"/>
              <c:showBubbleSize val="0"/>
            </c:dLbl>
            <c:dLbl>
              <c:idx val="16"/>
              <c:tx>
                <c:rich>
                  <a:bodyPr/>
                  <a:lstStyle/>
                  <a:p>
                    <a:r>
                      <a:t>16.58</a:t>
                    </a:r>
                  </a:p>
                </c:rich>
              </c:tx>
              <c:dLblPos val="t"/>
              <c:showLegendKey val="0"/>
              <c:showVal val="1"/>
              <c:showCatName val="0"/>
              <c:showSerName val="0"/>
              <c:showPercent val="0"/>
              <c:showBubbleSize val="0"/>
            </c:dLbl>
            <c:dLbl>
              <c:idx val="17"/>
              <c:tx>
                <c:rich>
                  <a:bodyPr/>
                  <a:lstStyle/>
                  <a:p>
                    <a:r>
                      <a:t>20.49</a:t>
                    </a:r>
                  </a:p>
                </c:rich>
              </c:tx>
              <c:dLblPos val="t"/>
              <c:showLegendKey val="0"/>
              <c:showVal val="1"/>
              <c:showCatName val="0"/>
              <c:showSerName val="0"/>
              <c:showPercent val="0"/>
              <c:showBubbleSize val="0"/>
            </c:dLbl>
            <c:dLbl>
              <c:idx val="18"/>
              <c:tx>
                <c:rich>
                  <a:bodyPr/>
                  <a:lstStyle/>
                  <a:p>
                    <a:r>
                      <a:t>19.34</a:t>
                    </a:r>
                  </a:p>
                </c:rich>
              </c:tx>
              <c:dLblPos val="t"/>
              <c:showLegendKey val="0"/>
              <c:showVal val="1"/>
              <c:showCatName val="0"/>
              <c:showSerName val="0"/>
              <c:showPercent val="0"/>
              <c:showBubbleSize val="0"/>
            </c:dLbl>
            <c:dLbl>
              <c:idx val="19"/>
              <c:tx>
                <c:rich>
                  <a:bodyPr/>
                  <a:lstStyle/>
                  <a:p>
                    <a:r>
                      <a:t>23.85</a:t>
                    </a:r>
                  </a:p>
                </c:rich>
              </c:tx>
              <c:dLblPos val="t"/>
              <c:showLegendKey val="0"/>
              <c:showVal val="1"/>
              <c:showCatName val="0"/>
              <c:showSerName val="0"/>
              <c:showPercent val="0"/>
              <c:showBubbleSize val="0"/>
            </c:dLbl>
            <c:dLbl>
              <c:idx val="20"/>
              <c:tx>
                <c:rich>
                  <a:bodyPr/>
                  <a:lstStyle/>
                  <a:p>
                    <a:r>
                      <a:t>26.4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C$2:$C$22</c:f>
              <c:numCache>
                <c:formatCode>General</c:formatCode>
                <c:ptCount val="21"/>
                <c:pt idx="0">
                  <c:v>13.6667</c:v>
                </c:pt>
                <c:pt idx="1">
                  <c:v>12.7555</c:v>
                </c:pt>
                <c:pt idx="2">
                  <c:v>8.9021</c:v>
                </c:pt>
                <c:pt idx="3">
                  <c:v>13.6354</c:v>
                </c:pt>
                <c:pt idx="4">
                  <c:v>11.1132</c:v>
                </c:pt>
                <c:pt idx="5">
                  <c:v>12.121</c:v>
                </c:pt>
                <c:pt idx="6">
                  <c:v>10.4883</c:v>
                </c:pt>
                <c:pt idx="7">
                  <c:v>19.8611</c:v>
                </c:pt>
                <c:pt idx="8">
                  <c:v>19.228</c:v>
                </c:pt>
                <c:pt idx="9">
                  <c:v>12.74</c:v>
                </c:pt>
                <c:pt idx="10">
                  <c:v>11.5577</c:v>
                </c:pt>
                <c:pt idx="11">
                  <c:v>12.1551</c:v>
                </c:pt>
                <c:pt idx="12">
                  <c:v>16.4209</c:v>
                </c:pt>
                <c:pt idx="13">
                  <c:v>7.7223</c:v>
                </c:pt>
                <c:pt idx="14">
                  <c:v>7.5266</c:v>
                </c:pt>
                <c:pt idx="15">
                  <c:v>12.9422</c:v>
                </c:pt>
                <c:pt idx="16">
                  <c:v>16.5803</c:v>
                </c:pt>
                <c:pt idx="17">
                  <c:v>20.4931</c:v>
                </c:pt>
                <c:pt idx="18">
                  <c:v>19.3407</c:v>
                </c:pt>
                <c:pt idx="19">
                  <c:v>23.8533</c:v>
                </c:pt>
                <c:pt idx="20">
                  <c:v>26.45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28</a:t>
                    </a:r>
                  </a:p>
                </c:rich>
              </c:tx>
              <c:dLblPos val="ctr"/>
              <c:showLegendKey val="0"/>
              <c:showVal val="1"/>
              <c:showCatName val="0"/>
              <c:showSerName val="0"/>
              <c:showPercent val="0"/>
              <c:showBubbleSize val="0"/>
            </c:dLbl>
            <c:dLbl>
              <c:idx val="2"/>
              <c:tx>
                <c:rich>
                  <a:bodyPr/>
                  <a:lstStyle/>
                  <a:p>
                    <a:r>
                      <a:t>99</a:t>
                    </a:r>
                  </a:p>
                </c:rich>
              </c:tx>
              <c:dLblPos val="ctr"/>
              <c:showLegendKey val="0"/>
              <c:showVal val="1"/>
              <c:showCatName val="0"/>
              <c:showSerName val="0"/>
              <c:showPercent val="0"/>
              <c:showBubbleSize val="0"/>
            </c:dLbl>
            <c:dLbl>
              <c:idx val="3"/>
              <c:tx>
                <c:rich>
                  <a:bodyPr/>
                  <a:lstStyle/>
                  <a:p>
                    <a:r>
                      <a:t>101</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04</a:t>
                    </a:r>
                  </a:p>
                </c:rich>
              </c:tx>
              <c:dLblPos val="ctr"/>
              <c:showLegendKey val="0"/>
              <c:showVal val="1"/>
              <c:showCatName val="0"/>
              <c:showSerName val="0"/>
              <c:showPercent val="0"/>
              <c:showBubbleSize val="0"/>
            </c:dLbl>
            <c:dLbl>
              <c:idx val="6"/>
              <c:tx>
                <c:rich>
                  <a:bodyPr/>
                  <a:lstStyle/>
                  <a:p>
                    <a:r>
                      <a:t>14</a:t>
                    </a:r>
                  </a:p>
                </c:rich>
              </c:tx>
              <c:dLblPos val="ctr"/>
              <c:showLegendKey val="0"/>
              <c:showVal val="1"/>
              <c:showCatName val="0"/>
              <c:showSerName val="0"/>
              <c:showPercent val="0"/>
              <c:showBubbleSize val="0"/>
            </c:dLbl>
            <c:dLbl>
              <c:idx val="7"/>
              <c:tx>
                <c:rich>
                  <a:bodyPr/>
                  <a:lstStyle/>
                  <a:p>
                    <a:r>
                      <a:t>107</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5</a:t>
                    </a:r>
                  </a:p>
                </c:rich>
              </c:tx>
              <c:dLblPos val="ctr"/>
              <c:showLegendKey val="0"/>
              <c:showVal val="1"/>
              <c:showCatName val="0"/>
              <c:showSerName val="0"/>
              <c:showPercent val="0"/>
              <c:showBubbleSize val="0"/>
            </c:dLbl>
            <c:dLbl>
              <c:idx val="10"/>
              <c:tx>
                <c:rich>
                  <a:bodyPr/>
                  <a:lstStyle/>
                  <a:p>
                    <a:r>
                      <a:t>14</a:t>
                    </a:r>
                  </a:p>
                </c:rich>
              </c:tx>
              <c:dLblPos val="ctr"/>
              <c:showLegendKey val="0"/>
              <c:showVal val="1"/>
              <c:showCatName val="0"/>
              <c:showSerName val="0"/>
              <c:showPercent val="0"/>
              <c:showBubbleSize val="0"/>
            </c:dLbl>
            <c:dLbl>
              <c:idx val="11"/>
              <c:tx>
                <c:rich>
                  <a:bodyPr/>
                  <a:lstStyle/>
                  <a:p>
                    <a:r>
                      <a:t>16</a:t>
                    </a:r>
                  </a:p>
                </c:rich>
              </c:tx>
              <c:dLblPos val="ctr"/>
              <c:showLegendKey val="0"/>
              <c:showVal val="1"/>
              <c:showCatName val="0"/>
              <c:showSerName val="0"/>
              <c:showPercent val="0"/>
              <c:showBubbleSize val="0"/>
            </c:dLbl>
            <c:dLbl>
              <c:idx val="12"/>
              <c:tx>
                <c:rich>
                  <a:bodyPr/>
                  <a:lstStyle/>
                  <a:p>
                    <a:r>
                      <a:t>15</a:t>
                    </a:r>
                  </a:p>
                </c:rich>
              </c:tx>
              <c:dLblPos val="ctr"/>
              <c:showLegendKey val="0"/>
              <c:showVal val="1"/>
              <c:showCatName val="0"/>
              <c:showSerName val="0"/>
              <c:showPercent val="0"/>
              <c:showBubbleSize val="0"/>
            </c:dLbl>
            <c:dLbl>
              <c:idx val="13"/>
              <c:tx>
                <c:rich>
                  <a:bodyPr/>
                  <a:lstStyle/>
                  <a:p>
                    <a:r>
                      <a:t>12</a:t>
                    </a:r>
                  </a:p>
                </c:rich>
              </c:tx>
              <c:dLblPos val="ctr"/>
              <c:showLegendKey val="0"/>
              <c:showVal val="1"/>
              <c:showCatName val="0"/>
              <c:showSerName val="0"/>
              <c:showPercent val="0"/>
              <c:showBubbleSize val="0"/>
            </c:dLbl>
            <c:dLbl>
              <c:idx val="14"/>
              <c:tx>
                <c:rich>
                  <a:bodyPr/>
                  <a:lstStyle/>
                  <a:p>
                    <a:r>
                      <a:t>14</a:t>
                    </a:r>
                  </a:p>
                </c:rich>
              </c:tx>
              <c:dLblPos val="ctr"/>
              <c:showLegendKey val="0"/>
              <c:showVal val="1"/>
              <c:showCatName val="0"/>
              <c:showSerName val="0"/>
              <c:showPercent val="0"/>
              <c:showBubbleSize val="0"/>
            </c:dLbl>
            <c:dLbl>
              <c:idx val="15"/>
              <c:tx>
                <c:rich>
                  <a:bodyPr/>
                  <a:lstStyle/>
                  <a:p>
                    <a:r>
                      <a:t>12</a:t>
                    </a:r>
                  </a:p>
                </c:rich>
              </c:tx>
              <c:dLblPos val="ctr"/>
              <c:showLegendKey val="0"/>
              <c:showVal val="1"/>
              <c:showCatName val="0"/>
              <c:showSerName val="0"/>
              <c:showPercent val="0"/>
              <c:showBubbleSize val="0"/>
            </c:dLbl>
            <c:dLbl>
              <c:idx val="16"/>
              <c:tx>
                <c:rich>
                  <a:bodyPr/>
                  <a:lstStyle/>
                  <a:p>
                    <a:r>
                      <a:t>10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c:v>
                </c:pt>
                <c:pt idx="1">
                  <c:v>1.2830292922885305</c:v>
                </c:pt>
                <c:pt idx="2">
                  <c:v>0.9859582163320495</c:v>
                </c:pt>
                <c:pt idx="3">
                  <c:v>1.0114956933873556</c:v>
                </c:pt>
                <c:pt idx="4">
                  <c:v>1.1069420592971742</c:v>
                </c:pt>
                <c:pt idx="5">
                  <c:v>1.0429136138065809</c:v>
                </c:pt>
                <c:pt idx="6">
                  <c:v>0.13655417527005898</c:v>
                </c:pt>
                <c:pt idx="7">
                  <c:v>1.074541084268098</c:v>
                </c:pt>
                <c:pt idx="8">
                  <c:v>1.0331494814406392</c:v>
                </c:pt>
                <c:pt idx="9">
                  <c:v>0.14780365174413887</c:v>
                </c:pt>
                <c:pt idx="10">
                  <c:v>0.13754349490137396</c:v>
                </c:pt>
                <c:pt idx="11">
                  <c:v>0.1649493429550351</c:v>
                </c:pt>
                <c:pt idx="12">
                  <c:v>0.15103180410754555</c:v>
                </c:pt>
                <c:pt idx="13">
                  <c:v>0.12175350159057534</c:v>
                </c:pt>
                <c:pt idx="14">
                  <c:v>0.14373749190355814</c:v>
                </c:pt>
                <c:pt idx="15">
                  <c:v>0.12133708047295301</c:v>
                </c:pt>
                <c:pt idx="16">
                  <c:v>1.055689525661815</c:v>
                </c:pt>
                <c:pt idx="17">
                  <c:v>0.0</c:v>
                </c:pt>
                <c:pt idx="18">
                  <c:v>0.0</c:v>
                </c:pt>
                <c:pt idx="19">
                  <c:v>0.0</c:v>
                </c:pt>
                <c:pt idx="2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00533</c:v>
                </c:pt>
                <c:pt idx="1">
                  <c:v>450.372441</c:v>
                </c:pt>
                <c:pt idx="2">
                  <c:v>296.462936</c:v>
                </c:pt>
                <c:pt idx="3">
                  <c:v>201.565162</c:v>
                </c:pt>
                <c:pt idx="4">
                  <c:v>174.768346</c:v>
                </c:pt>
                <c:pt idx="5">
                  <c:v>137.167389</c:v>
                </c:pt>
                <c:pt idx="6">
                  <c:v>59.466859</c:v>
                </c:pt>
                <c:pt idx="7">
                  <c:v>54.700438</c:v>
                </c:pt>
                <c:pt idx="8">
                  <c:v>40.762296</c:v>
                </c:pt>
                <c:pt idx="9">
                  <c:v>40.276411</c:v>
                </c:pt>
                <c:pt idx="10">
                  <c:v>27.881793</c:v>
                </c:pt>
                <c:pt idx="11">
                  <c:v>19.122785</c:v>
                </c:pt>
                <c:pt idx="12">
                  <c:v>12.511972</c:v>
                </c:pt>
                <c:pt idx="13">
                  <c:v>8.130613</c:v>
                </c:pt>
                <c:pt idx="14">
                  <c:v>5.680348</c:v>
                </c:pt>
                <c:pt idx="15">
                  <c:v>5.422608</c:v>
                </c:pt>
                <c:pt idx="16">
                  <c:v>3.434821</c:v>
                </c:pt>
                <c:pt idx="17">
                  <c:v>0.185278</c:v>
                </c:pt>
                <c:pt idx="18">
                  <c:v>0.030539</c:v>
                </c:pt>
                <c:pt idx="19">
                  <c:v>0.004389</c:v>
                </c:pt>
                <c:pt idx="20">
                  <c:v>0.00150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8.90</a:t>
                    </a:r>
                  </a:p>
                </c:rich>
              </c:tx>
              <c:dLblPos val="t"/>
              <c:showLegendKey val="0"/>
              <c:showVal val="1"/>
              <c:showCatName val="0"/>
              <c:showSerName val="0"/>
              <c:showPercent val="0"/>
              <c:showBubbleSize val="0"/>
            </c:dLbl>
            <c:dLbl>
              <c:idx val="3"/>
              <c:tx>
                <c:rich>
                  <a:bodyPr/>
                  <a:lstStyle/>
                  <a:p>
                    <a:r>
                      <a:t>13.64</a:t>
                    </a:r>
                  </a:p>
                </c:rich>
              </c:tx>
              <c:dLblPos val="t"/>
              <c:showLegendKey val="0"/>
              <c:showVal val="1"/>
              <c:showCatName val="0"/>
              <c:showSerName val="0"/>
              <c:showPercent val="0"/>
              <c:showBubbleSize val="0"/>
            </c:dLbl>
            <c:dLbl>
              <c:idx val="4"/>
              <c:tx>
                <c:rich>
                  <a:bodyPr/>
                  <a:lstStyle/>
                  <a:p>
                    <a:r>
                      <a:t>11.11</a:t>
                    </a:r>
                  </a:p>
                </c:rich>
              </c:tx>
              <c:dLblPos val="t"/>
              <c:showLegendKey val="0"/>
              <c:showVal val="1"/>
              <c:showCatName val="0"/>
              <c:showSerName val="0"/>
              <c:showPercent val="0"/>
              <c:showBubbleSize val="0"/>
            </c:dLbl>
            <c:dLbl>
              <c:idx val="5"/>
              <c:tx>
                <c:rich>
                  <a:bodyPr/>
                  <a:lstStyle/>
                  <a:p>
                    <a:r>
                      <a:t>12.12</a:t>
                    </a:r>
                  </a:p>
                </c:rich>
              </c:tx>
              <c:dLblPos val="t"/>
              <c:showLegendKey val="0"/>
              <c:showVal val="1"/>
              <c:showCatName val="0"/>
              <c:showSerName val="0"/>
              <c:showPercent val="0"/>
              <c:showBubbleSize val="0"/>
            </c:dLbl>
            <c:dLbl>
              <c:idx val="6"/>
              <c:tx>
                <c:rich>
                  <a:bodyPr/>
                  <a:lstStyle/>
                  <a:p>
                    <a:r>
                      <a:t>10.49</a:t>
                    </a:r>
                  </a:p>
                </c:rich>
              </c:tx>
              <c:dLblPos val="t"/>
              <c:showLegendKey val="0"/>
              <c:showVal val="1"/>
              <c:showCatName val="0"/>
              <c:showSerName val="0"/>
              <c:showPercent val="0"/>
              <c:showBubbleSize val="0"/>
            </c:dLbl>
            <c:dLbl>
              <c:idx val="7"/>
              <c:tx>
                <c:rich>
                  <a:bodyPr/>
                  <a:lstStyle/>
                  <a:p>
                    <a:r>
                      <a:t>19.86</a:t>
                    </a:r>
                  </a:p>
                </c:rich>
              </c:tx>
              <c:dLblPos val="t"/>
              <c:showLegendKey val="0"/>
              <c:showVal val="1"/>
              <c:showCatName val="0"/>
              <c:showSerName val="0"/>
              <c:showPercent val="0"/>
              <c:showBubbleSize val="0"/>
            </c:dLbl>
            <c:dLbl>
              <c:idx val="8"/>
              <c:tx>
                <c:rich>
                  <a:bodyPr/>
                  <a:lstStyle/>
                  <a:p>
                    <a:r>
                      <a:t>19.23</a:t>
                    </a:r>
                  </a:p>
                </c:rich>
              </c:tx>
              <c:dLblPos val="t"/>
              <c:showLegendKey val="0"/>
              <c:showVal val="1"/>
              <c:showCatName val="0"/>
              <c:showSerName val="0"/>
              <c:showPercent val="0"/>
              <c:showBubbleSize val="0"/>
            </c:dLbl>
            <c:dLbl>
              <c:idx val="9"/>
              <c:tx>
                <c:rich>
                  <a:bodyPr/>
                  <a:lstStyle/>
                  <a:p>
                    <a:r>
                      <a:t>12.74</a:t>
                    </a:r>
                  </a:p>
                </c:rich>
              </c:tx>
              <c:dLblPos val="t"/>
              <c:showLegendKey val="0"/>
              <c:showVal val="1"/>
              <c:showCatName val="0"/>
              <c:showSerName val="0"/>
              <c:showPercent val="0"/>
              <c:showBubbleSize val="0"/>
            </c:dLbl>
            <c:dLbl>
              <c:idx val="10"/>
              <c:tx>
                <c:rich>
                  <a:bodyPr/>
                  <a:lstStyle/>
                  <a:p>
                    <a:r>
                      <a:t>11.56</a:t>
                    </a:r>
                  </a:p>
                </c:rich>
              </c:tx>
              <c:dLblPos val="t"/>
              <c:showLegendKey val="0"/>
              <c:showVal val="1"/>
              <c:showCatName val="0"/>
              <c:showSerName val="0"/>
              <c:showPercent val="0"/>
              <c:showBubbleSize val="0"/>
            </c:dLbl>
            <c:dLbl>
              <c:idx val="11"/>
              <c:tx>
                <c:rich>
                  <a:bodyPr/>
                  <a:lstStyle/>
                  <a:p>
                    <a:r>
                      <a:t>12.16</a:t>
                    </a:r>
                  </a:p>
                </c:rich>
              </c:tx>
              <c:dLblPos val="t"/>
              <c:showLegendKey val="0"/>
              <c:showVal val="1"/>
              <c:showCatName val="0"/>
              <c:showSerName val="0"/>
              <c:showPercent val="0"/>
              <c:showBubbleSize val="0"/>
            </c:dLbl>
            <c:dLbl>
              <c:idx val="12"/>
              <c:tx>
                <c:rich>
                  <a:bodyPr/>
                  <a:lstStyle/>
                  <a:p>
                    <a:r>
                      <a:t>16.42</a:t>
                    </a:r>
                  </a:p>
                </c:rich>
              </c:tx>
              <c:dLblPos val="t"/>
              <c:showLegendKey val="0"/>
              <c:showVal val="1"/>
              <c:showCatName val="0"/>
              <c:showSerName val="0"/>
              <c:showPercent val="0"/>
              <c:showBubbleSize val="0"/>
            </c:dLbl>
            <c:dLbl>
              <c:idx val="13"/>
              <c:tx>
                <c:rich>
                  <a:bodyPr/>
                  <a:lstStyle/>
                  <a:p>
                    <a:r>
                      <a:t>7.72</a:t>
                    </a:r>
                  </a:p>
                </c:rich>
              </c:tx>
              <c:dLblPos val="t"/>
              <c:showLegendKey val="0"/>
              <c:showVal val="1"/>
              <c:showCatName val="0"/>
              <c:showSerName val="0"/>
              <c:showPercent val="0"/>
              <c:showBubbleSize val="0"/>
            </c:dLbl>
            <c:dLbl>
              <c:idx val="14"/>
              <c:tx>
                <c:rich>
                  <a:bodyPr/>
                  <a:lstStyle/>
                  <a:p>
                    <a:r>
                      <a:t>7.53</a:t>
                    </a:r>
                  </a:p>
                </c:rich>
              </c:tx>
              <c:dLblPos val="t"/>
              <c:showLegendKey val="0"/>
              <c:showVal val="1"/>
              <c:showCatName val="0"/>
              <c:showSerName val="0"/>
              <c:showPercent val="0"/>
              <c:showBubbleSize val="0"/>
            </c:dLbl>
            <c:dLbl>
              <c:idx val="15"/>
              <c:tx>
                <c:rich>
                  <a:bodyPr/>
                  <a:lstStyle/>
                  <a:p>
                    <a:r>
                      <a:t>12.94</a:t>
                    </a:r>
                  </a:p>
                </c:rich>
              </c:tx>
              <c:dLblPos val="t"/>
              <c:showLegendKey val="0"/>
              <c:showVal val="1"/>
              <c:showCatName val="0"/>
              <c:showSerName val="0"/>
              <c:showPercent val="0"/>
              <c:showBubbleSize val="0"/>
            </c:dLbl>
            <c:dLbl>
              <c:idx val="16"/>
              <c:tx>
                <c:rich>
                  <a:bodyPr/>
                  <a:lstStyle/>
                  <a:p>
                    <a:r>
                      <a:t>16.58</a:t>
                    </a:r>
                  </a:p>
                </c:rich>
              </c:tx>
              <c:dLblPos val="t"/>
              <c:showLegendKey val="0"/>
              <c:showVal val="1"/>
              <c:showCatName val="0"/>
              <c:showSerName val="0"/>
              <c:showPercent val="0"/>
              <c:showBubbleSize val="0"/>
            </c:dLbl>
            <c:dLbl>
              <c:idx val="17"/>
              <c:tx>
                <c:rich>
                  <a:bodyPr/>
                  <a:lstStyle/>
                  <a:p>
                    <a:r>
                      <a:t>20.49</a:t>
                    </a:r>
                  </a:p>
                </c:rich>
              </c:tx>
              <c:dLblPos val="t"/>
              <c:showLegendKey val="0"/>
              <c:showVal val="1"/>
              <c:showCatName val="0"/>
              <c:showSerName val="0"/>
              <c:showPercent val="0"/>
              <c:showBubbleSize val="0"/>
            </c:dLbl>
            <c:dLbl>
              <c:idx val="18"/>
              <c:tx>
                <c:rich>
                  <a:bodyPr/>
                  <a:lstStyle/>
                  <a:p>
                    <a:r>
                      <a:t>19.34</a:t>
                    </a:r>
                  </a:p>
                </c:rich>
              </c:tx>
              <c:dLblPos val="t"/>
              <c:showLegendKey val="0"/>
              <c:showVal val="1"/>
              <c:showCatName val="0"/>
              <c:showSerName val="0"/>
              <c:showPercent val="0"/>
              <c:showBubbleSize val="0"/>
            </c:dLbl>
            <c:dLbl>
              <c:idx val="19"/>
              <c:tx>
                <c:rich>
                  <a:bodyPr/>
                  <a:lstStyle/>
                  <a:p>
                    <a:r>
                      <a:t>23.85</a:t>
                    </a:r>
                  </a:p>
                </c:rich>
              </c:tx>
              <c:dLblPos val="t"/>
              <c:showLegendKey val="0"/>
              <c:showVal val="1"/>
              <c:showCatName val="0"/>
              <c:showSerName val="0"/>
              <c:showPercent val="0"/>
              <c:showBubbleSize val="0"/>
            </c:dLbl>
            <c:dLbl>
              <c:idx val="20"/>
              <c:tx>
                <c:rich>
                  <a:bodyPr/>
                  <a:lstStyle/>
                  <a:p>
                    <a:r>
                      <a:t>26.4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C$2:$C$22</c:f>
              <c:numCache>
                <c:formatCode>General</c:formatCode>
                <c:ptCount val="21"/>
                <c:pt idx="0">
                  <c:v>13.6667</c:v>
                </c:pt>
                <c:pt idx="1">
                  <c:v>12.7555</c:v>
                </c:pt>
                <c:pt idx="2">
                  <c:v>8.9021</c:v>
                </c:pt>
                <c:pt idx="3">
                  <c:v>13.6354</c:v>
                </c:pt>
                <c:pt idx="4">
                  <c:v>11.1132</c:v>
                </c:pt>
                <c:pt idx="5">
                  <c:v>12.121</c:v>
                </c:pt>
                <c:pt idx="6">
                  <c:v>10.4883</c:v>
                </c:pt>
                <c:pt idx="7">
                  <c:v>19.8611</c:v>
                </c:pt>
                <c:pt idx="8">
                  <c:v>19.228</c:v>
                </c:pt>
                <c:pt idx="9">
                  <c:v>12.74</c:v>
                </c:pt>
                <c:pt idx="10">
                  <c:v>11.5577</c:v>
                </c:pt>
                <c:pt idx="11">
                  <c:v>12.1551</c:v>
                </c:pt>
                <c:pt idx="12">
                  <c:v>16.4209</c:v>
                </c:pt>
                <c:pt idx="13">
                  <c:v>7.7223</c:v>
                </c:pt>
                <c:pt idx="14">
                  <c:v>7.5266</c:v>
                </c:pt>
                <c:pt idx="15">
                  <c:v>12.9422</c:v>
                </c:pt>
                <c:pt idx="16">
                  <c:v>16.5803</c:v>
                </c:pt>
                <c:pt idx="17">
                  <c:v>20.4931</c:v>
                </c:pt>
                <c:pt idx="18">
                  <c:v>19.3407</c:v>
                </c:pt>
                <c:pt idx="19">
                  <c:v>23.8533</c:v>
                </c:pt>
                <c:pt idx="20">
                  <c:v>26.45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5.3</a:t>
                    </a:r>
                  </a:p>
                </c:rich>
              </c:tx>
              <c:showLegendKey val="0"/>
              <c:showVal val="1"/>
              <c:showCatName val="0"/>
              <c:showSerName val="0"/>
              <c:showPercent val="0"/>
              <c:showBubbleSize val="0"/>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815</c:v>
                </c:pt>
                <c:pt idx="1">
                  <c:v>4.922485</c:v>
                </c:pt>
                <c:pt idx="2">
                  <c:v>0.0748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34.0</a:t>
                    </a:r>
                  </a:p>
                </c:rich>
              </c:tx>
              <c:showLegendKey val="0"/>
              <c:showVal val="1"/>
              <c:showCatName val="0"/>
              <c:showSerName val="0"/>
              <c:showPercent val="0"/>
              <c:showBubbleSize val="0"/>
            </c:dLbl>
            <c:dLbl>
              <c:idx val="1"/>
              <c:tx>
                <c:rich>
                  <a:bodyPr/>
                  <a:lstStyle/>
                  <a:p>
                    <a:r>
                      <a:rPr>
                        <a:solidFill>
                          <a:srgbClr val="FFFFFF"/>
                        </a:solidFill>
                      </a:rPr>
                      <a:t>34.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038024</c:v>
                </c:pt>
                <c:pt idx="1">
                  <c:v>34.89646</c:v>
                </c:pt>
                <c:pt idx="2">
                  <c:v>0.5099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28</a:t>
                    </a:r>
                  </a:p>
                </c:rich>
              </c:tx>
              <c:dLblPos val="ctr"/>
              <c:showLegendKey val="0"/>
              <c:showVal val="1"/>
              <c:showCatName val="0"/>
              <c:showSerName val="0"/>
              <c:showPercent val="0"/>
              <c:showBubbleSize val="0"/>
            </c:dLbl>
            <c:dLbl>
              <c:idx val="2"/>
              <c:tx>
                <c:rich>
                  <a:bodyPr/>
                  <a:lstStyle/>
                  <a:p>
                    <a:r>
                      <a:t>99</a:t>
                    </a:r>
                  </a:p>
                </c:rich>
              </c:tx>
              <c:dLblPos val="ctr"/>
              <c:showLegendKey val="0"/>
              <c:showVal val="1"/>
              <c:showCatName val="0"/>
              <c:showSerName val="0"/>
              <c:showPercent val="0"/>
              <c:showBubbleSize val="0"/>
            </c:dLbl>
            <c:dLbl>
              <c:idx val="3"/>
              <c:tx>
                <c:rich>
                  <a:bodyPr/>
                  <a:lstStyle/>
                  <a:p>
                    <a:r>
                      <a:t>101</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04</a:t>
                    </a:r>
                  </a:p>
                </c:rich>
              </c:tx>
              <c:dLblPos val="ctr"/>
              <c:showLegendKey val="0"/>
              <c:showVal val="1"/>
              <c:showCatName val="0"/>
              <c:showSerName val="0"/>
              <c:showPercent val="0"/>
              <c:showBubbleSize val="0"/>
            </c:dLbl>
            <c:dLbl>
              <c:idx val="6"/>
              <c:tx>
                <c:rich>
                  <a:bodyPr/>
                  <a:lstStyle/>
                  <a:p>
                    <a:r>
                      <a:t>14</a:t>
                    </a:r>
                  </a:p>
                </c:rich>
              </c:tx>
              <c:dLblPos val="ctr"/>
              <c:showLegendKey val="0"/>
              <c:showVal val="1"/>
              <c:showCatName val="0"/>
              <c:showSerName val="0"/>
              <c:showPercent val="0"/>
              <c:showBubbleSize val="0"/>
            </c:dLbl>
            <c:dLbl>
              <c:idx val="7"/>
              <c:tx>
                <c:rich>
                  <a:bodyPr/>
                  <a:lstStyle/>
                  <a:p>
                    <a:r>
                      <a:t>107</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5</a:t>
                    </a:r>
                  </a:p>
                </c:rich>
              </c:tx>
              <c:dLblPos val="ctr"/>
              <c:showLegendKey val="0"/>
              <c:showVal val="1"/>
              <c:showCatName val="0"/>
              <c:showSerName val="0"/>
              <c:showPercent val="0"/>
              <c:showBubbleSize val="0"/>
            </c:dLbl>
            <c:dLbl>
              <c:idx val="10"/>
              <c:tx>
                <c:rich>
                  <a:bodyPr/>
                  <a:lstStyle/>
                  <a:p>
                    <a:r>
                      <a:t>14</a:t>
                    </a:r>
                  </a:p>
                </c:rich>
              </c:tx>
              <c:dLblPos val="ctr"/>
              <c:showLegendKey val="0"/>
              <c:showVal val="1"/>
              <c:showCatName val="0"/>
              <c:showSerName val="0"/>
              <c:showPercent val="0"/>
              <c:showBubbleSize val="0"/>
            </c:dLbl>
            <c:dLbl>
              <c:idx val="11"/>
              <c:tx>
                <c:rich>
                  <a:bodyPr/>
                  <a:lstStyle/>
                  <a:p>
                    <a:r>
                      <a:t>16</a:t>
                    </a:r>
                  </a:p>
                </c:rich>
              </c:tx>
              <c:dLblPos val="ctr"/>
              <c:showLegendKey val="0"/>
              <c:showVal val="1"/>
              <c:showCatName val="0"/>
              <c:showSerName val="0"/>
              <c:showPercent val="0"/>
              <c:showBubbleSize val="0"/>
            </c:dLbl>
            <c:dLbl>
              <c:idx val="12"/>
              <c:tx>
                <c:rich>
                  <a:bodyPr/>
                  <a:lstStyle/>
                  <a:p>
                    <a:r>
                      <a:t>15</a:t>
                    </a:r>
                  </a:p>
                </c:rich>
              </c:tx>
              <c:dLblPos val="ctr"/>
              <c:showLegendKey val="0"/>
              <c:showVal val="1"/>
              <c:showCatName val="0"/>
              <c:showSerName val="0"/>
              <c:showPercent val="0"/>
              <c:showBubbleSize val="0"/>
            </c:dLbl>
            <c:dLbl>
              <c:idx val="13"/>
              <c:tx>
                <c:rich>
                  <a:bodyPr/>
                  <a:lstStyle/>
                  <a:p>
                    <a:r>
                      <a:t>12</a:t>
                    </a:r>
                  </a:p>
                </c:rich>
              </c:tx>
              <c:dLblPos val="ctr"/>
              <c:showLegendKey val="0"/>
              <c:showVal val="1"/>
              <c:showCatName val="0"/>
              <c:showSerName val="0"/>
              <c:showPercent val="0"/>
              <c:showBubbleSize val="0"/>
            </c:dLbl>
            <c:dLbl>
              <c:idx val="14"/>
              <c:tx>
                <c:rich>
                  <a:bodyPr/>
                  <a:lstStyle/>
                  <a:p>
                    <a:r>
                      <a:t>14</a:t>
                    </a:r>
                  </a:p>
                </c:rich>
              </c:tx>
              <c:dLblPos val="ctr"/>
              <c:showLegendKey val="0"/>
              <c:showVal val="1"/>
              <c:showCatName val="0"/>
              <c:showSerName val="0"/>
              <c:showPercent val="0"/>
              <c:showBubbleSize val="0"/>
            </c:dLbl>
            <c:dLbl>
              <c:idx val="15"/>
              <c:tx>
                <c:rich>
                  <a:bodyPr/>
                  <a:lstStyle/>
                  <a:p>
                    <a:r>
                      <a:t>12</a:t>
                    </a:r>
                  </a:p>
                </c:rich>
              </c:tx>
              <c:dLblPos val="ctr"/>
              <c:showLegendKey val="0"/>
              <c:showVal val="1"/>
              <c:showCatName val="0"/>
              <c:showSerName val="0"/>
              <c:showPercent val="0"/>
              <c:showBubbleSize val="0"/>
            </c:dLbl>
            <c:dLbl>
              <c:idx val="16"/>
              <c:tx>
                <c:rich>
                  <a:bodyPr/>
                  <a:lstStyle/>
                  <a:p>
                    <a:r>
                      <a:t>10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c:v>
                </c:pt>
                <c:pt idx="1">
                  <c:v>1.2830292922885305</c:v>
                </c:pt>
                <c:pt idx="2">
                  <c:v>0.9859582163320495</c:v>
                </c:pt>
                <c:pt idx="3">
                  <c:v>1.0114956933873556</c:v>
                </c:pt>
                <c:pt idx="4">
                  <c:v>1.1069420592971742</c:v>
                </c:pt>
                <c:pt idx="5">
                  <c:v>1.0429136138065809</c:v>
                </c:pt>
                <c:pt idx="6">
                  <c:v>0.13655417527005898</c:v>
                </c:pt>
                <c:pt idx="7">
                  <c:v>1.074541084268098</c:v>
                </c:pt>
                <c:pt idx="8">
                  <c:v>1.0331494814406392</c:v>
                </c:pt>
                <c:pt idx="9">
                  <c:v>0.14780365174413887</c:v>
                </c:pt>
                <c:pt idx="10">
                  <c:v>0.13754349490137396</c:v>
                </c:pt>
                <c:pt idx="11">
                  <c:v>0.1649493429550351</c:v>
                </c:pt>
                <c:pt idx="12">
                  <c:v>0.15103180410754555</c:v>
                </c:pt>
                <c:pt idx="13">
                  <c:v>0.12175350159057534</c:v>
                </c:pt>
                <c:pt idx="14">
                  <c:v>0.14373749190355814</c:v>
                </c:pt>
                <c:pt idx="15">
                  <c:v>0.12133708047295301</c:v>
                </c:pt>
                <c:pt idx="16">
                  <c:v>1.055689525661815</c:v>
                </c:pt>
                <c:pt idx="17">
                  <c:v>0.0</c:v>
                </c:pt>
                <c:pt idx="18">
                  <c:v>0.0</c:v>
                </c:pt>
                <c:pt idx="19">
                  <c:v>0.0</c:v>
                </c:pt>
                <c:pt idx="2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00533</c:v>
                </c:pt>
                <c:pt idx="1">
                  <c:v>450.372441</c:v>
                </c:pt>
                <c:pt idx="2">
                  <c:v>296.462936</c:v>
                </c:pt>
                <c:pt idx="3">
                  <c:v>201.565162</c:v>
                </c:pt>
                <c:pt idx="4">
                  <c:v>174.768346</c:v>
                </c:pt>
                <c:pt idx="5">
                  <c:v>137.167389</c:v>
                </c:pt>
                <c:pt idx="6">
                  <c:v>59.466859</c:v>
                </c:pt>
                <c:pt idx="7">
                  <c:v>54.700438</c:v>
                </c:pt>
                <c:pt idx="8">
                  <c:v>40.762296</c:v>
                </c:pt>
                <c:pt idx="9">
                  <c:v>40.276411</c:v>
                </c:pt>
                <c:pt idx="10">
                  <c:v>27.881793</c:v>
                </c:pt>
                <c:pt idx="11">
                  <c:v>19.122785</c:v>
                </c:pt>
                <c:pt idx="12">
                  <c:v>12.511972</c:v>
                </c:pt>
                <c:pt idx="13">
                  <c:v>8.130613</c:v>
                </c:pt>
                <c:pt idx="14">
                  <c:v>5.680348</c:v>
                </c:pt>
                <c:pt idx="15">
                  <c:v>5.422608</c:v>
                </c:pt>
                <c:pt idx="16">
                  <c:v>3.434821</c:v>
                </c:pt>
                <c:pt idx="17">
                  <c:v>0.185278</c:v>
                </c:pt>
                <c:pt idx="18">
                  <c:v>0.030539</c:v>
                </c:pt>
                <c:pt idx="19">
                  <c:v>0.004389</c:v>
                </c:pt>
                <c:pt idx="20">
                  <c:v>0.00150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8.90</a:t>
                    </a:r>
                  </a:p>
                </c:rich>
              </c:tx>
              <c:dLblPos val="t"/>
              <c:showLegendKey val="0"/>
              <c:showVal val="1"/>
              <c:showCatName val="0"/>
              <c:showSerName val="0"/>
              <c:showPercent val="0"/>
              <c:showBubbleSize val="0"/>
            </c:dLbl>
            <c:dLbl>
              <c:idx val="3"/>
              <c:tx>
                <c:rich>
                  <a:bodyPr/>
                  <a:lstStyle/>
                  <a:p>
                    <a:r>
                      <a:t>13.64</a:t>
                    </a:r>
                  </a:p>
                </c:rich>
              </c:tx>
              <c:dLblPos val="t"/>
              <c:showLegendKey val="0"/>
              <c:showVal val="1"/>
              <c:showCatName val="0"/>
              <c:showSerName val="0"/>
              <c:showPercent val="0"/>
              <c:showBubbleSize val="0"/>
            </c:dLbl>
            <c:dLbl>
              <c:idx val="4"/>
              <c:tx>
                <c:rich>
                  <a:bodyPr/>
                  <a:lstStyle/>
                  <a:p>
                    <a:r>
                      <a:t>11.11</a:t>
                    </a:r>
                  </a:p>
                </c:rich>
              </c:tx>
              <c:dLblPos val="t"/>
              <c:showLegendKey val="0"/>
              <c:showVal val="1"/>
              <c:showCatName val="0"/>
              <c:showSerName val="0"/>
              <c:showPercent val="0"/>
              <c:showBubbleSize val="0"/>
            </c:dLbl>
            <c:dLbl>
              <c:idx val="5"/>
              <c:tx>
                <c:rich>
                  <a:bodyPr/>
                  <a:lstStyle/>
                  <a:p>
                    <a:r>
                      <a:t>12.12</a:t>
                    </a:r>
                  </a:p>
                </c:rich>
              </c:tx>
              <c:dLblPos val="t"/>
              <c:showLegendKey val="0"/>
              <c:showVal val="1"/>
              <c:showCatName val="0"/>
              <c:showSerName val="0"/>
              <c:showPercent val="0"/>
              <c:showBubbleSize val="0"/>
            </c:dLbl>
            <c:dLbl>
              <c:idx val="6"/>
              <c:tx>
                <c:rich>
                  <a:bodyPr/>
                  <a:lstStyle/>
                  <a:p>
                    <a:r>
                      <a:t>10.49</a:t>
                    </a:r>
                  </a:p>
                </c:rich>
              </c:tx>
              <c:dLblPos val="t"/>
              <c:showLegendKey val="0"/>
              <c:showVal val="1"/>
              <c:showCatName val="0"/>
              <c:showSerName val="0"/>
              <c:showPercent val="0"/>
              <c:showBubbleSize val="0"/>
            </c:dLbl>
            <c:dLbl>
              <c:idx val="7"/>
              <c:tx>
                <c:rich>
                  <a:bodyPr/>
                  <a:lstStyle/>
                  <a:p>
                    <a:r>
                      <a:t>19.86</a:t>
                    </a:r>
                  </a:p>
                </c:rich>
              </c:tx>
              <c:dLblPos val="t"/>
              <c:showLegendKey val="0"/>
              <c:showVal val="1"/>
              <c:showCatName val="0"/>
              <c:showSerName val="0"/>
              <c:showPercent val="0"/>
              <c:showBubbleSize val="0"/>
            </c:dLbl>
            <c:dLbl>
              <c:idx val="8"/>
              <c:tx>
                <c:rich>
                  <a:bodyPr/>
                  <a:lstStyle/>
                  <a:p>
                    <a:r>
                      <a:t>19.23</a:t>
                    </a:r>
                  </a:p>
                </c:rich>
              </c:tx>
              <c:dLblPos val="t"/>
              <c:showLegendKey val="0"/>
              <c:showVal val="1"/>
              <c:showCatName val="0"/>
              <c:showSerName val="0"/>
              <c:showPercent val="0"/>
              <c:showBubbleSize val="0"/>
            </c:dLbl>
            <c:dLbl>
              <c:idx val="9"/>
              <c:tx>
                <c:rich>
                  <a:bodyPr/>
                  <a:lstStyle/>
                  <a:p>
                    <a:r>
                      <a:t>12.74</a:t>
                    </a:r>
                  </a:p>
                </c:rich>
              </c:tx>
              <c:dLblPos val="t"/>
              <c:showLegendKey val="0"/>
              <c:showVal val="1"/>
              <c:showCatName val="0"/>
              <c:showSerName val="0"/>
              <c:showPercent val="0"/>
              <c:showBubbleSize val="0"/>
            </c:dLbl>
            <c:dLbl>
              <c:idx val="10"/>
              <c:tx>
                <c:rich>
                  <a:bodyPr/>
                  <a:lstStyle/>
                  <a:p>
                    <a:r>
                      <a:t>11.56</a:t>
                    </a:r>
                  </a:p>
                </c:rich>
              </c:tx>
              <c:dLblPos val="t"/>
              <c:showLegendKey val="0"/>
              <c:showVal val="1"/>
              <c:showCatName val="0"/>
              <c:showSerName val="0"/>
              <c:showPercent val="0"/>
              <c:showBubbleSize val="0"/>
            </c:dLbl>
            <c:dLbl>
              <c:idx val="11"/>
              <c:tx>
                <c:rich>
                  <a:bodyPr/>
                  <a:lstStyle/>
                  <a:p>
                    <a:r>
                      <a:t>12.16</a:t>
                    </a:r>
                  </a:p>
                </c:rich>
              </c:tx>
              <c:dLblPos val="t"/>
              <c:showLegendKey val="0"/>
              <c:showVal val="1"/>
              <c:showCatName val="0"/>
              <c:showSerName val="0"/>
              <c:showPercent val="0"/>
              <c:showBubbleSize val="0"/>
            </c:dLbl>
            <c:dLbl>
              <c:idx val="12"/>
              <c:tx>
                <c:rich>
                  <a:bodyPr/>
                  <a:lstStyle/>
                  <a:p>
                    <a:r>
                      <a:t>16.42</a:t>
                    </a:r>
                  </a:p>
                </c:rich>
              </c:tx>
              <c:dLblPos val="t"/>
              <c:showLegendKey val="0"/>
              <c:showVal val="1"/>
              <c:showCatName val="0"/>
              <c:showSerName val="0"/>
              <c:showPercent val="0"/>
              <c:showBubbleSize val="0"/>
            </c:dLbl>
            <c:dLbl>
              <c:idx val="13"/>
              <c:tx>
                <c:rich>
                  <a:bodyPr/>
                  <a:lstStyle/>
                  <a:p>
                    <a:r>
                      <a:t>7.72</a:t>
                    </a:r>
                  </a:p>
                </c:rich>
              </c:tx>
              <c:dLblPos val="t"/>
              <c:showLegendKey val="0"/>
              <c:showVal val="1"/>
              <c:showCatName val="0"/>
              <c:showSerName val="0"/>
              <c:showPercent val="0"/>
              <c:showBubbleSize val="0"/>
            </c:dLbl>
            <c:dLbl>
              <c:idx val="14"/>
              <c:tx>
                <c:rich>
                  <a:bodyPr/>
                  <a:lstStyle/>
                  <a:p>
                    <a:r>
                      <a:t>7.53</a:t>
                    </a:r>
                  </a:p>
                </c:rich>
              </c:tx>
              <c:dLblPos val="t"/>
              <c:showLegendKey val="0"/>
              <c:showVal val="1"/>
              <c:showCatName val="0"/>
              <c:showSerName val="0"/>
              <c:showPercent val="0"/>
              <c:showBubbleSize val="0"/>
            </c:dLbl>
            <c:dLbl>
              <c:idx val="15"/>
              <c:tx>
                <c:rich>
                  <a:bodyPr/>
                  <a:lstStyle/>
                  <a:p>
                    <a:r>
                      <a:t>12.94</a:t>
                    </a:r>
                  </a:p>
                </c:rich>
              </c:tx>
              <c:dLblPos val="t"/>
              <c:showLegendKey val="0"/>
              <c:showVal val="1"/>
              <c:showCatName val="0"/>
              <c:showSerName val="0"/>
              <c:showPercent val="0"/>
              <c:showBubbleSize val="0"/>
            </c:dLbl>
            <c:dLbl>
              <c:idx val="16"/>
              <c:tx>
                <c:rich>
                  <a:bodyPr/>
                  <a:lstStyle/>
                  <a:p>
                    <a:r>
                      <a:t>16.58</a:t>
                    </a:r>
                  </a:p>
                </c:rich>
              </c:tx>
              <c:dLblPos val="t"/>
              <c:showLegendKey val="0"/>
              <c:showVal val="1"/>
              <c:showCatName val="0"/>
              <c:showSerName val="0"/>
              <c:showPercent val="0"/>
              <c:showBubbleSize val="0"/>
            </c:dLbl>
            <c:dLbl>
              <c:idx val="17"/>
              <c:tx>
                <c:rich>
                  <a:bodyPr/>
                  <a:lstStyle/>
                  <a:p>
                    <a:r>
                      <a:t>20.49</a:t>
                    </a:r>
                  </a:p>
                </c:rich>
              </c:tx>
              <c:dLblPos val="t"/>
              <c:showLegendKey val="0"/>
              <c:showVal val="1"/>
              <c:showCatName val="0"/>
              <c:showSerName val="0"/>
              <c:showPercent val="0"/>
              <c:showBubbleSize val="0"/>
            </c:dLbl>
            <c:dLbl>
              <c:idx val="18"/>
              <c:tx>
                <c:rich>
                  <a:bodyPr/>
                  <a:lstStyle/>
                  <a:p>
                    <a:r>
                      <a:t>19.34</a:t>
                    </a:r>
                  </a:p>
                </c:rich>
              </c:tx>
              <c:dLblPos val="t"/>
              <c:showLegendKey val="0"/>
              <c:showVal val="1"/>
              <c:showCatName val="0"/>
              <c:showSerName val="0"/>
              <c:showPercent val="0"/>
              <c:showBubbleSize val="0"/>
            </c:dLbl>
            <c:dLbl>
              <c:idx val="19"/>
              <c:tx>
                <c:rich>
                  <a:bodyPr/>
                  <a:lstStyle/>
                  <a:p>
                    <a:r>
                      <a:t>23.85</a:t>
                    </a:r>
                  </a:p>
                </c:rich>
              </c:tx>
              <c:dLblPos val="t"/>
              <c:showLegendKey val="0"/>
              <c:showVal val="1"/>
              <c:showCatName val="0"/>
              <c:showSerName val="0"/>
              <c:showPercent val="0"/>
              <c:showBubbleSize val="0"/>
            </c:dLbl>
            <c:dLbl>
              <c:idx val="20"/>
              <c:tx>
                <c:rich>
                  <a:bodyPr/>
                  <a:lstStyle/>
                  <a:p>
                    <a:r>
                      <a:t>26.4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C$2:$C$22</c:f>
              <c:numCache>
                <c:formatCode>General</c:formatCode>
                <c:ptCount val="21"/>
                <c:pt idx="0">
                  <c:v>13.6667</c:v>
                </c:pt>
                <c:pt idx="1">
                  <c:v>12.7555</c:v>
                </c:pt>
                <c:pt idx="2">
                  <c:v>8.9021</c:v>
                </c:pt>
                <c:pt idx="3">
                  <c:v>13.6354</c:v>
                </c:pt>
                <c:pt idx="4">
                  <c:v>11.1132</c:v>
                </c:pt>
                <c:pt idx="5">
                  <c:v>12.121</c:v>
                </c:pt>
                <c:pt idx="6">
                  <c:v>10.4883</c:v>
                </c:pt>
                <c:pt idx="7">
                  <c:v>19.8611</c:v>
                </c:pt>
                <c:pt idx="8">
                  <c:v>19.228</c:v>
                </c:pt>
                <c:pt idx="9">
                  <c:v>12.74</c:v>
                </c:pt>
                <c:pt idx="10">
                  <c:v>11.5577</c:v>
                </c:pt>
                <c:pt idx="11">
                  <c:v>12.1551</c:v>
                </c:pt>
                <c:pt idx="12">
                  <c:v>16.4209</c:v>
                </c:pt>
                <c:pt idx="13">
                  <c:v>7.7223</c:v>
                </c:pt>
                <c:pt idx="14">
                  <c:v>7.5266</c:v>
                </c:pt>
                <c:pt idx="15">
                  <c:v>12.9422</c:v>
                </c:pt>
                <c:pt idx="16">
                  <c:v>16.5803</c:v>
                </c:pt>
                <c:pt idx="17">
                  <c:v>20.4931</c:v>
                </c:pt>
                <c:pt idx="18">
                  <c:v>19.3407</c:v>
                </c:pt>
                <c:pt idx="19">
                  <c:v>23.8533</c:v>
                </c:pt>
                <c:pt idx="20">
                  <c:v>26.45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28</a:t>
                    </a:r>
                  </a:p>
                </c:rich>
              </c:tx>
              <c:dLblPos val="ctr"/>
              <c:showLegendKey val="0"/>
              <c:showVal val="1"/>
              <c:showCatName val="0"/>
              <c:showSerName val="0"/>
              <c:showPercent val="0"/>
              <c:showBubbleSize val="0"/>
            </c:dLbl>
            <c:dLbl>
              <c:idx val="2"/>
              <c:tx>
                <c:rich>
                  <a:bodyPr/>
                  <a:lstStyle/>
                  <a:p>
                    <a:r>
                      <a:t>99</a:t>
                    </a:r>
                  </a:p>
                </c:rich>
              </c:tx>
              <c:dLblPos val="ctr"/>
              <c:showLegendKey val="0"/>
              <c:showVal val="1"/>
              <c:showCatName val="0"/>
              <c:showSerName val="0"/>
              <c:showPercent val="0"/>
              <c:showBubbleSize val="0"/>
            </c:dLbl>
            <c:dLbl>
              <c:idx val="3"/>
              <c:tx>
                <c:rich>
                  <a:bodyPr/>
                  <a:lstStyle/>
                  <a:p>
                    <a:r>
                      <a:t>101</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04</a:t>
                    </a:r>
                  </a:p>
                </c:rich>
              </c:tx>
              <c:dLblPos val="ctr"/>
              <c:showLegendKey val="0"/>
              <c:showVal val="1"/>
              <c:showCatName val="0"/>
              <c:showSerName val="0"/>
              <c:showPercent val="0"/>
              <c:showBubbleSize val="0"/>
            </c:dLbl>
            <c:dLbl>
              <c:idx val="6"/>
              <c:tx>
                <c:rich>
                  <a:bodyPr/>
                  <a:lstStyle/>
                  <a:p>
                    <a:r>
                      <a:t>14</a:t>
                    </a:r>
                  </a:p>
                </c:rich>
              </c:tx>
              <c:dLblPos val="ctr"/>
              <c:showLegendKey val="0"/>
              <c:showVal val="1"/>
              <c:showCatName val="0"/>
              <c:showSerName val="0"/>
              <c:showPercent val="0"/>
              <c:showBubbleSize val="0"/>
            </c:dLbl>
            <c:dLbl>
              <c:idx val="7"/>
              <c:tx>
                <c:rich>
                  <a:bodyPr/>
                  <a:lstStyle/>
                  <a:p>
                    <a:r>
                      <a:t>107</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5</a:t>
                    </a:r>
                  </a:p>
                </c:rich>
              </c:tx>
              <c:dLblPos val="ctr"/>
              <c:showLegendKey val="0"/>
              <c:showVal val="1"/>
              <c:showCatName val="0"/>
              <c:showSerName val="0"/>
              <c:showPercent val="0"/>
              <c:showBubbleSize val="0"/>
            </c:dLbl>
            <c:dLbl>
              <c:idx val="10"/>
              <c:tx>
                <c:rich>
                  <a:bodyPr/>
                  <a:lstStyle/>
                  <a:p>
                    <a:r>
                      <a:t>14</a:t>
                    </a:r>
                  </a:p>
                </c:rich>
              </c:tx>
              <c:dLblPos val="ctr"/>
              <c:showLegendKey val="0"/>
              <c:showVal val="1"/>
              <c:showCatName val="0"/>
              <c:showSerName val="0"/>
              <c:showPercent val="0"/>
              <c:showBubbleSize val="0"/>
            </c:dLbl>
            <c:dLbl>
              <c:idx val="11"/>
              <c:tx>
                <c:rich>
                  <a:bodyPr/>
                  <a:lstStyle/>
                  <a:p>
                    <a:r>
                      <a:t>16</a:t>
                    </a:r>
                  </a:p>
                </c:rich>
              </c:tx>
              <c:dLblPos val="ctr"/>
              <c:showLegendKey val="0"/>
              <c:showVal val="1"/>
              <c:showCatName val="0"/>
              <c:showSerName val="0"/>
              <c:showPercent val="0"/>
              <c:showBubbleSize val="0"/>
            </c:dLbl>
            <c:dLbl>
              <c:idx val="12"/>
              <c:tx>
                <c:rich>
                  <a:bodyPr/>
                  <a:lstStyle/>
                  <a:p>
                    <a:r>
                      <a:t>15</a:t>
                    </a:r>
                  </a:p>
                </c:rich>
              </c:tx>
              <c:dLblPos val="ctr"/>
              <c:showLegendKey val="0"/>
              <c:showVal val="1"/>
              <c:showCatName val="0"/>
              <c:showSerName val="0"/>
              <c:showPercent val="0"/>
              <c:showBubbleSize val="0"/>
            </c:dLbl>
            <c:dLbl>
              <c:idx val="13"/>
              <c:tx>
                <c:rich>
                  <a:bodyPr/>
                  <a:lstStyle/>
                  <a:p>
                    <a:r>
                      <a:t>12</a:t>
                    </a:r>
                  </a:p>
                </c:rich>
              </c:tx>
              <c:dLblPos val="ctr"/>
              <c:showLegendKey val="0"/>
              <c:showVal val="1"/>
              <c:showCatName val="0"/>
              <c:showSerName val="0"/>
              <c:showPercent val="0"/>
              <c:showBubbleSize val="0"/>
            </c:dLbl>
            <c:dLbl>
              <c:idx val="14"/>
              <c:tx>
                <c:rich>
                  <a:bodyPr/>
                  <a:lstStyle/>
                  <a:p>
                    <a:r>
                      <a:t>14</a:t>
                    </a:r>
                  </a:p>
                </c:rich>
              </c:tx>
              <c:dLblPos val="ctr"/>
              <c:showLegendKey val="0"/>
              <c:showVal val="1"/>
              <c:showCatName val="0"/>
              <c:showSerName val="0"/>
              <c:showPercent val="0"/>
              <c:showBubbleSize val="0"/>
            </c:dLbl>
            <c:dLbl>
              <c:idx val="15"/>
              <c:tx>
                <c:rich>
                  <a:bodyPr/>
                  <a:lstStyle/>
                  <a:p>
                    <a:r>
                      <a:t>12</a:t>
                    </a:r>
                  </a:p>
                </c:rich>
              </c:tx>
              <c:dLblPos val="ctr"/>
              <c:showLegendKey val="0"/>
              <c:showVal val="1"/>
              <c:showCatName val="0"/>
              <c:showSerName val="0"/>
              <c:showPercent val="0"/>
              <c:showBubbleSize val="0"/>
            </c:dLbl>
            <c:dLbl>
              <c:idx val="16"/>
              <c:tx>
                <c:rich>
                  <a:bodyPr/>
                  <a:lstStyle/>
                  <a:p>
                    <a:r>
                      <a:t>10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c:v>
                </c:pt>
                <c:pt idx="1">
                  <c:v>1.2830292922885305</c:v>
                </c:pt>
                <c:pt idx="2">
                  <c:v>0.9859582163320495</c:v>
                </c:pt>
                <c:pt idx="3">
                  <c:v>1.0114956933873556</c:v>
                </c:pt>
                <c:pt idx="4">
                  <c:v>1.1069420592971742</c:v>
                </c:pt>
                <c:pt idx="5">
                  <c:v>1.0429136138065809</c:v>
                </c:pt>
                <c:pt idx="6">
                  <c:v>0.13655417527005898</c:v>
                </c:pt>
                <c:pt idx="7">
                  <c:v>1.074541084268098</c:v>
                </c:pt>
                <c:pt idx="8">
                  <c:v>1.0331494814406392</c:v>
                </c:pt>
                <c:pt idx="9">
                  <c:v>0.14780365174413887</c:v>
                </c:pt>
                <c:pt idx="10">
                  <c:v>0.13754349490137396</c:v>
                </c:pt>
                <c:pt idx="11">
                  <c:v>0.1649493429550351</c:v>
                </c:pt>
                <c:pt idx="12">
                  <c:v>0.15103180410754555</c:v>
                </c:pt>
                <c:pt idx="13">
                  <c:v>0.12175350159057534</c:v>
                </c:pt>
                <c:pt idx="14">
                  <c:v>0.14373749190355814</c:v>
                </c:pt>
                <c:pt idx="15">
                  <c:v>0.12133708047295301</c:v>
                </c:pt>
                <c:pt idx="16">
                  <c:v>1.055689525661815</c:v>
                </c:pt>
                <c:pt idx="17">
                  <c:v>0.0</c:v>
                </c:pt>
                <c:pt idx="18">
                  <c:v>0.0</c:v>
                </c:pt>
                <c:pt idx="19">
                  <c:v>0.0</c:v>
                </c:pt>
                <c:pt idx="2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00533</c:v>
                </c:pt>
                <c:pt idx="1">
                  <c:v>450.372441</c:v>
                </c:pt>
                <c:pt idx="2">
                  <c:v>296.462936</c:v>
                </c:pt>
                <c:pt idx="3">
                  <c:v>201.565162</c:v>
                </c:pt>
                <c:pt idx="4">
                  <c:v>174.768346</c:v>
                </c:pt>
                <c:pt idx="5">
                  <c:v>137.167389</c:v>
                </c:pt>
                <c:pt idx="6">
                  <c:v>59.466859</c:v>
                </c:pt>
                <c:pt idx="7">
                  <c:v>54.700438</c:v>
                </c:pt>
                <c:pt idx="8">
                  <c:v>40.762296</c:v>
                </c:pt>
                <c:pt idx="9">
                  <c:v>40.276411</c:v>
                </c:pt>
                <c:pt idx="10">
                  <c:v>27.881793</c:v>
                </c:pt>
                <c:pt idx="11">
                  <c:v>19.122785</c:v>
                </c:pt>
                <c:pt idx="12">
                  <c:v>12.511972</c:v>
                </c:pt>
                <c:pt idx="13">
                  <c:v>8.130613</c:v>
                </c:pt>
                <c:pt idx="14">
                  <c:v>5.680348</c:v>
                </c:pt>
                <c:pt idx="15">
                  <c:v>5.422608</c:v>
                </c:pt>
                <c:pt idx="16">
                  <c:v>3.434821</c:v>
                </c:pt>
                <c:pt idx="17">
                  <c:v>0.185278</c:v>
                </c:pt>
                <c:pt idx="18">
                  <c:v>0.030539</c:v>
                </c:pt>
                <c:pt idx="19">
                  <c:v>0.004389</c:v>
                </c:pt>
                <c:pt idx="20">
                  <c:v>0.00150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67</a:t>
                    </a:r>
                  </a:p>
                </c:rich>
              </c:tx>
              <c:dLblPos val="t"/>
              <c:showLegendKey val="0"/>
              <c:showVal val="1"/>
              <c:showCatName val="0"/>
              <c:showSerName val="0"/>
              <c:showPercent val="0"/>
              <c:showBubbleSize val="0"/>
            </c:dLbl>
            <c:dLbl>
              <c:idx val="1"/>
              <c:tx>
                <c:rich>
                  <a:bodyPr/>
                  <a:lstStyle/>
                  <a:p>
                    <a:r>
                      <a:t>12.76</a:t>
                    </a:r>
                  </a:p>
                </c:rich>
              </c:tx>
              <c:dLblPos val="t"/>
              <c:showLegendKey val="0"/>
              <c:showVal val="1"/>
              <c:showCatName val="0"/>
              <c:showSerName val="0"/>
              <c:showPercent val="0"/>
              <c:showBubbleSize val="0"/>
            </c:dLbl>
            <c:dLbl>
              <c:idx val="2"/>
              <c:tx>
                <c:rich>
                  <a:bodyPr/>
                  <a:lstStyle/>
                  <a:p>
                    <a:r>
                      <a:t>8.90</a:t>
                    </a:r>
                  </a:p>
                </c:rich>
              </c:tx>
              <c:dLblPos val="t"/>
              <c:showLegendKey val="0"/>
              <c:showVal val="1"/>
              <c:showCatName val="0"/>
              <c:showSerName val="0"/>
              <c:showPercent val="0"/>
              <c:showBubbleSize val="0"/>
            </c:dLbl>
            <c:dLbl>
              <c:idx val="3"/>
              <c:tx>
                <c:rich>
                  <a:bodyPr/>
                  <a:lstStyle/>
                  <a:p>
                    <a:r>
                      <a:t>13.64</a:t>
                    </a:r>
                  </a:p>
                </c:rich>
              </c:tx>
              <c:dLblPos val="t"/>
              <c:showLegendKey val="0"/>
              <c:showVal val="1"/>
              <c:showCatName val="0"/>
              <c:showSerName val="0"/>
              <c:showPercent val="0"/>
              <c:showBubbleSize val="0"/>
            </c:dLbl>
            <c:dLbl>
              <c:idx val="4"/>
              <c:tx>
                <c:rich>
                  <a:bodyPr/>
                  <a:lstStyle/>
                  <a:p>
                    <a:r>
                      <a:t>11.11</a:t>
                    </a:r>
                  </a:p>
                </c:rich>
              </c:tx>
              <c:dLblPos val="t"/>
              <c:showLegendKey val="0"/>
              <c:showVal val="1"/>
              <c:showCatName val="0"/>
              <c:showSerName val="0"/>
              <c:showPercent val="0"/>
              <c:showBubbleSize val="0"/>
            </c:dLbl>
            <c:dLbl>
              <c:idx val="5"/>
              <c:tx>
                <c:rich>
                  <a:bodyPr/>
                  <a:lstStyle/>
                  <a:p>
                    <a:r>
                      <a:t>12.12</a:t>
                    </a:r>
                  </a:p>
                </c:rich>
              </c:tx>
              <c:dLblPos val="t"/>
              <c:showLegendKey val="0"/>
              <c:showVal val="1"/>
              <c:showCatName val="0"/>
              <c:showSerName val="0"/>
              <c:showPercent val="0"/>
              <c:showBubbleSize val="0"/>
            </c:dLbl>
            <c:dLbl>
              <c:idx val="6"/>
              <c:tx>
                <c:rich>
                  <a:bodyPr/>
                  <a:lstStyle/>
                  <a:p>
                    <a:r>
                      <a:t>10.49</a:t>
                    </a:r>
                  </a:p>
                </c:rich>
              </c:tx>
              <c:dLblPos val="t"/>
              <c:showLegendKey val="0"/>
              <c:showVal val="1"/>
              <c:showCatName val="0"/>
              <c:showSerName val="0"/>
              <c:showPercent val="0"/>
              <c:showBubbleSize val="0"/>
            </c:dLbl>
            <c:dLbl>
              <c:idx val="7"/>
              <c:tx>
                <c:rich>
                  <a:bodyPr/>
                  <a:lstStyle/>
                  <a:p>
                    <a:r>
                      <a:t>19.86</a:t>
                    </a:r>
                  </a:p>
                </c:rich>
              </c:tx>
              <c:dLblPos val="t"/>
              <c:showLegendKey val="0"/>
              <c:showVal val="1"/>
              <c:showCatName val="0"/>
              <c:showSerName val="0"/>
              <c:showPercent val="0"/>
              <c:showBubbleSize val="0"/>
            </c:dLbl>
            <c:dLbl>
              <c:idx val="8"/>
              <c:tx>
                <c:rich>
                  <a:bodyPr/>
                  <a:lstStyle/>
                  <a:p>
                    <a:r>
                      <a:t>19.23</a:t>
                    </a:r>
                  </a:p>
                </c:rich>
              </c:tx>
              <c:dLblPos val="t"/>
              <c:showLegendKey val="0"/>
              <c:showVal val="1"/>
              <c:showCatName val="0"/>
              <c:showSerName val="0"/>
              <c:showPercent val="0"/>
              <c:showBubbleSize val="0"/>
            </c:dLbl>
            <c:dLbl>
              <c:idx val="9"/>
              <c:tx>
                <c:rich>
                  <a:bodyPr/>
                  <a:lstStyle/>
                  <a:p>
                    <a:r>
                      <a:t>12.74</a:t>
                    </a:r>
                  </a:p>
                </c:rich>
              </c:tx>
              <c:dLblPos val="t"/>
              <c:showLegendKey val="0"/>
              <c:showVal val="1"/>
              <c:showCatName val="0"/>
              <c:showSerName val="0"/>
              <c:showPercent val="0"/>
              <c:showBubbleSize val="0"/>
            </c:dLbl>
            <c:dLbl>
              <c:idx val="10"/>
              <c:tx>
                <c:rich>
                  <a:bodyPr/>
                  <a:lstStyle/>
                  <a:p>
                    <a:r>
                      <a:t>11.56</a:t>
                    </a:r>
                  </a:p>
                </c:rich>
              </c:tx>
              <c:dLblPos val="t"/>
              <c:showLegendKey val="0"/>
              <c:showVal val="1"/>
              <c:showCatName val="0"/>
              <c:showSerName val="0"/>
              <c:showPercent val="0"/>
              <c:showBubbleSize val="0"/>
            </c:dLbl>
            <c:dLbl>
              <c:idx val="11"/>
              <c:tx>
                <c:rich>
                  <a:bodyPr/>
                  <a:lstStyle/>
                  <a:p>
                    <a:r>
                      <a:t>12.16</a:t>
                    </a:r>
                  </a:p>
                </c:rich>
              </c:tx>
              <c:dLblPos val="t"/>
              <c:showLegendKey val="0"/>
              <c:showVal val="1"/>
              <c:showCatName val="0"/>
              <c:showSerName val="0"/>
              <c:showPercent val="0"/>
              <c:showBubbleSize val="0"/>
            </c:dLbl>
            <c:dLbl>
              <c:idx val="12"/>
              <c:tx>
                <c:rich>
                  <a:bodyPr/>
                  <a:lstStyle/>
                  <a:p>
                    <a:r>
                      <a:t>16.42</a:t>
                    </a:r>
                  </a:p>
                </c:rich>
              </c:tx>
              <c:dLblPos val="t"/>
              <c:showLegendKey val="0"/>
              <c:showVal val="1"/>
              <c:showCatName val="0"/>
              <c:showSerName val="0"/>
              <c:showPercent val="0"/>
              <c:showBubbleSize val="0"/>
            </c:dLbl>
            <c:dLbl>
              <c:idx val="13"/>
              <c:tx>
                <c:rich>
                  <a:bodyPr/>
                  <a:lstStyle/>
                  <a:p>
                    <a:r>
                      <a:t>7.72</a:t>
                    </a:r>
                  </a:p>
                </c:rich>
              </c:tx>
              <c:dLblPos val="t"/>
              <c:showLegendKey val="0"/>
              <c:showVal val="1"/>
              <c:showCatName val="0"/>
              <c:showSerName val="0"/>
              <c:showPercent val="0"/>
              <c:showBubbleSize val="0"/>
            </c:dLbl>
            <c:dLbl>
              <c:idx val="14"/>
              <c:tx>
                <c:rich>
                  <a:bodyPr/>
                  <a:lstStyle/>
                  <a:p>
                    <a:r>
                      <a:t>7.53</a:t>
                    </a:r>
                  </a:p>
                </c:rich>
              </c:tx>
              <c:dLblPos val="t"/>
              <c:showLegendKey val="0"/>
              <c:showVal val="1"/>
              <c:showCatName val="0"/>
              <c:showSerName val="0"/>
              <c:showPercent val="0"/>
              <c:showBubbleSize val="0"/>
            </c:dLbl>
            <c:dLbl>
              <c:idx val="15"/>
              <c:tx>
                <c:rich>
                  <a:bodyPr/>
                  <a:lstStyle/>
                  <a:p>
                    <a:r>
                      <a:t>12.94</a:t>
                    </a:r>
                  </a:p>
                </c:rich>
              </c:tx>
              <c:dLblPos val="t"/>
              <c:showLegendKey val="0"/>
              <c:showVal val="1"/>
              <c:showCatName val="0"/>
              <c:showSerName val="0"/>
              <c:showPercent val="0"/>
              <c:showBubbleSize val="0"/>
            </c:dLbl>
            <c:dLbl>
              <c:idx val="16"/>
              <c:tx>
                <c:rich>
                  <a:bodyPr/>
                  <a:lstStyle/>
                  <a:p>
                    <a:r>
                      <a:t>16.58</a:t>
                    </a:r>
                  </a:p>
                </c:rich>
              </c:tx>
              <c:dLblPos val="t"/>
              <c:showLegendKey val="0"/>
              <c:showVal val="1"/>
              <c:showCatName val="0"/>
              <c:showSerName val="0"/>
              <c:showPercent val="0"/>
              <c:showBubbleSize val="0"/>
            </c:dLbl>
            <c:dLbl>
              <c:idx val="17"/>
              <c:tx>
                <c:rich>
                  <a:bodyPr/>
                  <a:lstStyle/>
                  <a:p>
                    <a:r>
                      <a:t>20.49</a:t>
                    </a:r>
                  </a:p>
                </c:rich>
              </c:tx>
              <c:dLblPos val="t"/>
              <c:showLegendKey val="0"/>
              <c:showVal val="1"/>
              <c:showCatName val="0"/>
              <c:showSerName val="0"/>
              <c:showPercent val="0"/>
              <c:showBubbleSize val="0"/>
            </c:dLbl>
            <c:dLbl>
              <c:idx val="18"/>
              <c:tx>
                <c:rich>
                  <a:bodyPr/>
                  <a:lstStyle/>
                  <a:p>
                    <a:r>
                      <a:t>19.34</a:t>
                    </a:r>
                  </a:p>
                </c:rich>
              </c:tx>
              <c:dLblPos val="t"/>
              <c:showLegendKey val="0"/>
              <c:showVal val="1"/>
              <c:showCatName val="0"/>
              <c:showSerName val="0"/>
              <c:showPercent val="0"/>
              <c:showBubbleSize val="0"/>
            </c:dLbl>
            <c:dLbl>
              <c:idx val="19"/>
              <c:tx>
                <c:rich>
                  <a:bodyPr/>
                  <a:lstStyle/>
                  <a:p>
                    <a:r>
                      <a:t>23.85</a:t>
                    </a:r>
                  </a:p>
                </c:rich>
              </c:tx>
              <c:dLblPos val="t"/>
              <c:showLegendKey val="0"/>
              <c:showVal val="1"/>
              <c:showCatName val="0"/>
              <c:showSerName val="0"/>
              <c:showPercent val="0"/>
              <c:showBubbleSize val="0"/>
            </c:dLbl>
            <c:dLbl>
              <c:idx val="20"/>
              <c:tx>
                <c:rich>
                  <a:bodyPr/>
                  <a:lstStyle/>
                  <a:p>
                    <a:r>
                      <a:t>26.46</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C$2:$C$22</c:f>
              <c:numCache>
                <c:formatCode>General</c:formatCode>
                <c:ptCount val="21"/>
                <c:pt idx="0">
                  <c:v>13.6667</c:v>
                </c:pt>
                <c:pt idx="1">
                  <c:v>12.7555</c:v>
                </c:pt>
                <c:pt idx="2">
                  <c:v>8.9021</c:v>
                </c:pt>
                <c:pt idx="3">
                  <c:v>13.6354</c:v>
                </c:pt>
                <c:pt idx="4">
                  <c:v>11.1132</c:v>
                </c:pt>
                <c:pt idx="5">
                  <c:v>12.121</c:v>
                </c:pt>
                <c:pt idx="6">
                  <c:v>10.4883</c:v>
                </c:pt>
                <c:pt idx="7">
                  <c:v>19.8611</c:v>
                </c:pt>
                <c:pt idx="8">
                  <c:v>19.228</c:v>
                </c:pt>
                <c:pt idx="9">
                  <c:v>12.74</c:v>
                </c:pt>
                <c:pt idx="10">
                  <c:v>11.5577</c:v>
                </c:pt>
                <c:pt idx="11">
                  <c:v>12.1551</c:v>
                </c:pt>
                <c:pt idx="12">
                  <c:v>16.4209</c:v>
                </c:pt>
                <c:pt idx="13">
                  <c:v>7.7223</c:v>
                </c:pt>
                <c:pt idx="14">
                  <c:v>7.5266</c:v>
                </c:pt>
                <c:pt idx="15">
                  <c:v>12.9422</c:v>
                </c:pt>
                <c:pt idx="16">
                  <c:v>16.5803</c:v>
                </c:pt>
                <c:pt idx="17">
                  <c:v>20.4931</c:v>
                </c:pt>
                <c:pt idx="18">
                  <c:v>19.3407</c:v>
                </c:pt>
                <c:pt idx="19">
                  <c:v>23.8533</c:v>
                </c:pt>
                <c:pt idx="20">
                  <c:v>26.456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28</a:t>
                    </a:r>
                  </a:p>
                </c:rich>
              </c:tx>
              <c:dLblPos val="ctr"/>
              <c:showLegendKey val="0"/>
              <c:showVal val="1"/>
              <c:showCatName val="0"/>
              <c:showSerName val="0"/>
              <c:showPercent val="0"/>
              <c:showBubbleSize val="0"/>
            </c:dLbl>
            <c:dLbl>
              <c:idx val="2"/>
              <c:tx>
                <c:rich>
                  <a:bodyPr/>
                  <a:lstStyle/>
                  <a:p>
                    <a:r>
                      <a:t>99</a:t>
                    </a:r>
                  </a:p>
                </c:rich>
              </c:tx>
              <c:dLblPos val="ctr"/>
              <c:showLegendKey val="0"/>
              <c:showVal val="1"/>
              <c:showCatName val="0"/>
              <c:showSerName val="0"/>
              <c:showPercent val="0"/>
              <c:showBubbleSize val="0"/>
            </c:dLbl>
            <c:dLbl>
              <c:idx val="3"/>
              <c:tx>
                <c:rich>
                  <a:bodyPr/>
                  <a:lstStyle/>
                  <a:p>
                    <a:r>
                      <a:t>101</a:t>
                    </a:r>
                  </a:p>
                </c:rich>
              </c:tx>
              <c:dLblPos val="ctr"/>
              <c:showLegendKey val="0"/>
              <c:showVal val="1"/>
              <c:showCatName val="0"/>
              <c:showSerName val="0"/>
              <c:showPercent val="0"/>
              <c:showBubbleSize val="0"/>
            </c:dLbl>
            <c:dLbl>
              <c:idx val="4"/>
              <c:tx>
                <c:rich>
                  <a:bodyPr/>
                  <a:lstStyle/>
                  <a:p>
                    <a:r>
                      <a:t>111</a:t>
                    </a:r>
                  </a:p>
                </c:rich>
              </c:tx>
              <c:dLblPos val="ctr"/>
              <c:showLegendKey val="0"/>
              <c:showVal val="1"/>
              <c:showCatName val="0"/>
              <c:showSerName val="0"/>
              <c:showPercent val="0"/>
              <c:showBubbleSize val="0"/>
            </c:dLbl>
            <c:dLbl>
              <c:idx val="5"/>
              <c:tx>
                <c:rich>
                  <a:bodyPr/>
                  <a:lstStyle/>
                  <a:p>
                    <a:r>
                      <a:t>104</a:t>
                    </a:r>
                  </a:p>
                </c:rich>
              </c:tx>
              <c:dLblPos val="ctr"/>
              <c:showLegendKey val="0"/>
              <c:showVal val="1"/>
              <c:showCatName val="0"/>
              <c:showSerName val="0"/>
              <c:showPercent val="0"/>
              <c:showBubbleSize val="0"/>
            </c:dLbl>
            <c:dLbl>
              <c:idx val="6"/>
              <c:tx>
                <c:rich>
                  <a:bodyPr/>
                  <a:lstStyle/>
                  <a:p>
                    <a:r>
                      <a:t>14</a:t>
                    </a:r>
                  </a:p>
                </c:rich>
              </c:tx>
              <c:dLblPos val="ctr"/>
              <c:showLegendKey val="0"/>
              <c:showVal val="1"/>
              <c:showCatName val="0"/>
              <c:showSerName val="0"/>
              <c:showPercent val="0"/>
              <c:showBubbleSize val="0"/>
            </c:dLbl>
            <c:dLbl>
              <c:idx val="7"/>
              <c:tx>
                <c:rich>
                  <a:bodyPr/>
                  <a:lstStyle/>
                  <a:p>
                    <a:r>
                      <a:t>107</a:t>
                    </a:r>
                  </a:p>
                </c:rich>
              </c:tx>
              <c:dLblPos val="ctr"/>
              <c:showLegendKey val="0"/>
              <c:showVal val="1"/>
              <c:showCatName val="0"/>
              <c:showSerName val="0"/>
              <c:showPercent val="0"/>
              <c:showBubbleSize val="0"/>
            </c:dLbl>
            <c:dLbl>
              <c:idx val="8"/>
              <c:tx>
                <c:rich>
                  <a:bodyPr/>
                  <a:lstStyle/>
                  <a:p>
                    <a:r>
                      <a:t>103</a:t>
                    </a:r>
                  </a:p>
                </c:rich>
              </c:tx>
              <c:dLblPos val="ctr"/>
              <c:showLegendKey val="0"/>
              <c:showVal val="1"/>
              <c:showCatName val="0"/>
              <c:showSerName val="0"/>
              <c:showPercent val="0"/>
              <c:showBubbleSize val="0"/>
            </c:dLbl>
            <c:dLbl>
              <c:idx val="9"/>
              <c:tx>
                <c:rich>
                  <a:bodyPr/>
                  <a:lstStyle/>
                  <a:p>
                    <a:r>
                      <a:t>15</a:t>
                    </a:r>
                  </a:p>
                </c:rich>
              </c:tx>
              <c:dLblPos val="ctr"/>
              <c:showLegendKey val="0"/>
              <c:showVal val="1"/>
              <c:showCatName val="0"/>
              <c:showSerName val="0"/>
              <c:showPercent val="0"/>
              <c:showBubbleSize val="0"/>
            </c:dLbl>
            <c:dLbl>
              <c:idx val="10"/>
              <c:tx>
                <c:rich>
                  <a:bodyPr/>
                  <a:lstStyle/>
                  <a:p>
                    <a:r>
                      <a:t>14</a:t>
                    </a:r>
                  </a:p>
                </c:rich>
              </c:tx>
              <c:dLblPos val="ctr"/>
              <c:showLegendKey val="0"/>
              <c:showVal val="1"/>
              <c:showCatName val="0"/>
              <c:showSerName val="0"/>
              <c:showPercent val="0"/>
              <c:showBubbleSize val="0"/>
            </c:dLbl>
            <c:dLbl>
              <c:idx val="11"/>
              <c:tx>
                <c:rich>
                  <a:bodyPr/>
                  <a:lstStyle/>
                  <a:p>
                    <a:r>
                      <a:t>16</a:t>
                    </a:r>
                  </a:p>
                </c:rich>
              </c:tx>
              <c:dLblPos val="ctr"/>
              <c:showLegendKey val="0"/>
              <c:showVal val="1"/>
              <c:showCatName val="0"/>
              <c:showSerName val="0"/>
              <c:showPercent val="0"/>
              <c:showBubbleSize val="0"/>
            </c:dLbl>
            <c:dLbl>
              <c:idx val="12"/>
              <c:tx>
                <c:rich>
                  <a:bodyPr/>
                  <a:lstStyle/>
                  <a:p>
                    <a:r>
                      <a:t>15</a:t>
                    </a:r>
                  </a:p>
                </c:rich>
              </c:tx>
              <c:dLblPos val="ctr"/>
              <c:showLegendKey val="0"/>
              <c:showVal val="1"/>
              <c:showCatName val="0"/>
              <c:showSerName val="0"/>
              <c:showPercent val="0"/>
              <c:showBubbleSize val="0"/>
            </c:dLbl>
            <c:dLbl>
              <c:idx val="13"/>
              <c:tx>
                <c:rich>
                  <a:bodyPr/>
                  <a:lstStyle/>
                  <a:p>
                    <a:r>
                      <a:t>12</a:t>
                    </a:r>
                  </a:p>
                </c:rich>
              </c:tx>
              <c:dLblPos val="ctr"/>
              <c:showLegendKey val="0"/>
              <c:showVal val="1"/>
              <c:showCatName val="0"/>
              <c:showSerName val="0"/>
              <c:showPercent val="0"/>
              <c:showBubbleSize val="0"/>
            </c:dLbl>
            <c:dLbl>
              <c:idx val="14"/>
              <c:tx>
                <c:rich>
                  <a:bodyPr/>
                  <a:lstStyle/>
                  <a:p>
                    <a:r>
                      <a:t>14</a:t>
                    </a:r>
                  </a:p>
                </c:rich>
              </c:tx>
              <c:dLblPos val="ctr"/>
              <c:showLegendKey val="0"/>
              <c:showVal val="1"/>
              <c:showCatName val="0"/>
              <c:showSerName val="0"/>
              <c:showPercent val="0"/>
              <c:showBubbleSize val="0"/>
            </c:dLbl>
            <c:dLbl>
              <c:idx val="15"/>
              <c:tx>
                <c:rich>
                  <a:bodyPr/>
                  <a:lstStyle/>
                  <a:p>
                    <a:r>
                      <a:t>12</a:t>
                    </a:r>
                  </a:p>
                </c:rich>
              </c:tx>
              <c:dLblPos val="ctr"/>
              <c:showLegendKey val="0"/>
              <c:showVal val="1"/>
              <c:showCatName val="0"/>
              <c:showSerName val="0"/>
              <c:showPercent val="0"/>
              <c:showBubbleSize val="0"/>
            </c:dLbl>
            <c:dLbl>
              <c:idx val="16"/>
              <c:tx>
                <c:rich>
                  <a:bodyPr/>
                  <a:lstStyle/>
                  <a:p>
                    <a:r>
                      <a:t>106</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Comte</c:v>
                </c:pt>
                <c:pt idx="1">
                  <c:v>Salade</c:v>
                </c:pt>
                <c:pt idx="2">
                  <c:v>Classique</c:v>
                </c:pt>
                <c:pt idx="3">
                  <c:v>Chevre</c:v>
                </c:pt>
                <c:pt idx="4">
                  <c:v>Frais A Tartiner</c:v>
                </c:pt>
                <c:pt idx="5">
                  <c:v>Enfant</c:v>
                </c:pt>
                <c:pt idx="6">
                  <c:v>Rape</c:v>
                </c:pt>
                <c:pt idx="7">
                  <c:v>Aperitif</c:v>
                </c:pt>
                <c:pt idx="8">
                  <c:v>Brebis</c:v>
                </c:pt>
                <c:pt idx="9">
                  <c:v>Bloc</c:v>
                </c:pt>
                <c:pt idx="10">
                  <c:v>Specialite</c:v>
                </c:pt>
                <c:pt idx="11">
                  <c:v>Tranche A Froid</c:v>
                </c:pt>
                <c:pt idx="12">
                  <c:v>Pate Persillee</c:v>
                </c:pt>
                <c:pt idx="13">
                  <c:v>Ingredient A Chaud</c:v>
                </c:pt>
                <c:pt idx="14">
                  <c:v>Dessert</c:v>
                </c:pt>
                <c:pt idx="15">
                  <c:v>Plat Chaud</c:v>
                </c:pt>
                <c:pt idx="16">
                  <c:v>Alternative Vegetale</c:v>
                </c:pt>
                <c:pt idx="17">
                  <c:v>Halloumi</c:v>
                </c:pt>
                <c:pt idx="18">
                  <c:v>Snack</c:v>
                </c:pt>
                <c:pt idx="19">
                  <c:v>Washed-Rind</c:v>
                </c:pt>
                <c:pt idx="20">
                  <c:v>Other Soft-Ripened Rinds</c:v>
                </c:pt>
              </c:strCache>
            </c:strRef>
          </c:cat>
          <c:val>
            <c:numRef>
              <c:f>Sheet1!$B$2:$B$22</c:f>
              <c:numCache>
                <c:formatCode>General</c:formatCode>
                <c:ptCount val="21"/>
                <c:pt idx="0">
                  <c:v>0.0</c:v>
                </c:pt>
                <c:pt idx="1">
                  <c:v>1.2830292922885305</c:v>
                </c:pt>
                <c:pt idx="2">
                  <c:v>0.9859582163320495</c:v>
                </c:pt>
                <c:pt idx="3">
                  <c:v>1.0114956933873556</c:v>
                </c:pt>
                <c:pt idx="4">
                  <c:v>1.1069420592971742</c:v>
                </c:pt>
                <c:pt idx="5">
                  <c:v>1.0429136138065809</c:v>
                </c:pt>
                <c:pt idx="6">
                  <c:v>0.13655417527005898</c:v>
                </c:pt>
                <c:pt idx="7">
                  <c:v>1.074541084268098</c:v>
                </c:pt>
                <c:pt idx="8">
                  <c:v>1.0331494814406392</c:v>
                </c:pt>
                <c:pt idx="9">
                  <c:v>0.14780365174413887</c:v>
                </c:pt>
                <c:pt idx="10">
                  <c:v>0.13754349490137396</c:v>
                </c:pt>
                <c:pt idx="11">
                  <c:v>0.1649493429550351</c:v>
                </c:pt>
                <c:pt idx="12">
                  <c:v>0.15103180410754555</c:v>
                </c:pt>
                <c:pt idx="13">
                  <c:v>0.12175350159057534</c:v>
                </c:pt>
                <c:pt idx="14">
                  <c:v>0.14373749190355814</c:v>
                </c:pt>
                <c:pt idx="15">
                  <c:v>0.12133708047295301</c:v>
                </c:pt>
                <c:pt idx="16">
                  <c:v>1.055689525661815</c:v>
                </c:pt>
                <c:pt idx="17">
                  <c:v>0.0</c:v>
                </c:pt>
                <c:pt idx="18">
                  <c:v>0.0</c:v>
                </c:pt>
                <c:pt idx="19">
                  <c:v>0.0</c:v>
                </c:pt>
                <c:pt idx="20">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79.861894</c:v>
                </c:pt>
                <c:pt idx="2">
                  <c:v>48.841392</c:v>
                </c:pt>
                <c:pt idx="3">
                  <c:v>32.969683</c:v>
                </c:pt>
                <c:pt idx="4">
                  <c:v>29.660078</c:v>
                </c:pt>
                <c:pt idx="5">
                  <c:v>24.183221</c:v>
                </c:pt>
                <c:pt idx="6">
                  <c:v>10.303675</c:v>
                </c:pt>
                <c:pt idx="7">
                  <c:v>6.374848</c:v>
                </c:pt>
                <c:pt idx="8">
                  <c:v>0.940955</c:v>
                </c:pt>
                <c:pt idx="9">
                  <c:v>0.0</c:v>
                </c:pt>
                <c:pt idx="10">
                  <c:v>0.0</c:v>
                </c:pt>
                <c:pt idx="11">
                  <c:v>0.0</c:v>
                </c:pt>
                <c:pt idx="12">
                  <c:v>0.0</c:v>
                </c:pt>
                <c:pt idx="13">
                  <c:v>0.0</c:v>
                </c:pt>
                <c:pt idx="14">
                  <c:v>0.0</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9.45</a:t>
                    </a:r>
                  </a:p>
                </c:rich>
              </c:tx>
              <c:dLblPos val="t"/>
              <c:showLegendKey val="0"/>
              <c:showVal val="1"/>
              <c:showCatName val="0"/>
              <c:showSerName val="0"/>
              <c:showPercent val="0"/>
              <c:showBubbleSize val="0"/>
            </c:dLbl>
            <c:dLbl>
              <c:idx val="3"/>
              <c:tx>
                <c:rich>
                  <a:bodyPr/>
                  <a:lstStyle/>
                  <a:p>
                    <a:r>
                      <a:t>15.10</a:t>
                    </a:r>
                  </a:p>
                </c:rich>
              </c:tx>
              <c:dLblPos val="t"/>
              <c:showLegendKey val="0"/>
              <c:showVal val="1"/>
              <c:showCatName val="0"/>
              <c:showSerName val="0"/>
              <c:showPercent val="0"/>
              <c:showBubbleSize val="0"/>
            </c:dLbl>
            <c:dLbl>
              <c:idx val="4"/>
              <c:tx>
                <c:rich>
                  <a:bodyPr/>
                  <a:lstStyle/>
                  <a:p>
                    <a:r>
                      <a:t>12.02</a:t>
                    </a:r>
                  </a:p>
                </c:rich>
              </c:tx>
              <c:dLblPos val="t"/>
              <c:showLegendKey val="0"/>
              <c:showVal val="1"/>
              <c:showCatName val="0"/>
              <c:showSerName val="0"/>
              <c:showPercent val="0"/>
              <c:showBubbleSize val="0"/>
            </c:dLbl>
            <c:dLbl>
              <c:idx val="5"/>
              <c:tx>
                <c:rich>
                  <a:bodyPr/>
                  <a:lstStyle/>
                  <a:p>
                    <a:r>
                      <a:t>12.57</a:t>
                    </a:r>
                  </a:p>
                </c:rich>
              </c:tx>
              <c:dLblPos val="t"/>
              <c:showLegendKey val="0"/>
              <c:showVal val="1"/>
              <c:showCatName val="0"/>
              <c:showSerName val="0"/>
              <c:showPercent val="0"/>
              <c:showBubbleSize val="0"/>
            </c:dLbl>
            <c:dLbl>
              <c:idx val="6"/>
              <c:tx>
                <c:rich>
                  <a:bodyPr/>
                  <a:lstStyle/>
                  <a:p>
                    <a:r>
                      <a:t>20.99</a:t>
                    </a:r>
                  </a:p>
                </c:rich>
              </c:tx>
              <c:dLblPos val="t"/>
              <c:showLegendKey val="0"/>
              <c:showVal val="1"/>
              <c:showCatName val="0"/>
              <c:showSerName val="0"/>
              <c:showPercent val="0"/>
              <c:showBubbleSize val="0"/>
            </c:dLbl>
            <c:dLbl>
              <c:idx val="7"/>
              <c:tx>
                <c:rich>
                  <a:bodyPr/>
                  <a:lstStyle/>
                  <a:p>
                    <a:r>
                      <a:t>20.96</a:t>
                    </a:r>
                  </a:p>
                </c:rich>
              </c:tx>
              <c:dLblPos val="t"/>
              <c:showLegendKey val="0"/>
              <c:showVal val="1"/>
              <c:showCatName val="0"/>
              <c:showSerName val="0"/>
              <c:showPercent val="0"/>
              <c:showBubbleSize val="0"/>
            </c:dLbl>
            <c:dLbl>
              <c:idx val="8"/>
              <c:tx>
                <c:rich>
                  <a:bodyPr/>
                  <a:lstStyle/>
                  <a:p>
                    <a:r>
                      <a:t>17.63</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dLbl>
              <c:idx val="11"/>
              <c:tx>
                <c:rich>
                  <a:bodyPr/>
                  <a:lstStyle/>
                  <a:p>
                    <a:r>
                      <a:t>0.00</a:t>
                    </a:r>
                  </a:p>
                </c:rich>
              </c:tx>
              <c:dLblPos val="t"/>
              <c:showLegendKey val="0"/>
              <c:showVal val="1"/>
              <c:showCatName val="0"/>
              <c:showSerName val="0"/>
              <c:showPercent val="0"/>
              <c:showBubbleSize val="0"/>
            </c:dLbl>
            <c:dLbl>
              <c:idx val="12"/>
              <c:tx>
                <c:rich>
                  <a:bodyPr/>
                  <a:lstStyle/>
                  <a:p>
                    <a:r>
                      <a:t>0.00</a:t>
                    </a:r>
                  </a:p>
                </c:rich>
              </c:tx>
              <c:dLblPos val="t"/>
              <c:showLegendKey val="0"/>
              <c:showVal val="1"/>
              <c:showCatName val="0"/>
              <c:showSerName val="0"/>
              <c:showPercent val="0"/>
              <c:showBubbleSize val="0"/>
            </c:dLbl>
            <c:dLbl>
              <c:idx val="13"/>
              <c:tx>
                <c:rich>
                  <a:bodyPr/>
                  <a:lstStyle/>
                  <a:p>
                    <a:r>
                      <a:t>0.00</a:t>
                    </a:r>
                  </a:p>
                </c:rich>
              </c:tx>
              <c:dLblPos val="t"/>
              <c:showLegendKey val="0"/>
              <c:showVal val="1"/>
              <c:showCatName val="0"/>
              <c:showSerName val="0"/>
              <c:showPercent val="0"/>
              <c:showBubbleSize val="0"/>
            </c:dLbl>
            <c:dLbl>
              <c:idx val="14"/>
              <c:tx>
                <c:rich>
                  <a:bodyPr/>
                  <a:lstStyle/>
                  <a:p>
                    <a:r>
                      <a:t>0.00</a:t>
                    </a:r>
                  </a:p>
                </c:rich>
              </c:tx>
              <c:dLblPos val="t"/>
              <c:showLegendKey val="0"/>
              <c:showVal val="1"/>
              <c:showCatName val="0"/>
              <c:showSerName val="0"/>
              <c:showPercent val="0"/>
              <c:showBubbleSize val="0"/>
            </c:dLbl>
            <c:dLbl>
              <c:idx val="15"/>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C$2:$C$17</c:f>
              <c:numCache>
                <c:formatCode>General</c:formatCode>
                <c:ptCount val="16"/>
                <c:pt idx="0">
                  <c:v>0.0</c:v>
                </c:pt>
                <c:pt idx="1">
                  <c:v>13.827</c:v>
                </c:pt>
                <c:pt idx="2">
                  <c:v>9.454</c:v>
                </c:pt>
                <c:pt idx="3">
                  <c:v>15.096</c:v>
                </c:pt>
                <c:pt idx="4">
                  <c:v>12.0214</c:v>
                </c:pt>
                <c:pt idx="5">
                  <c:v>12.568</c:v>
                </c:pt>
                <c:pt idx="6">
                  <c:v>20.9879</c:v>
                </c:pt>
                <c:pt idx="7">
                  <c:v>20.9582</c:v>
                </c:pt>
                <c:pt idx="8">
                  <c:v>17.6275</c:v>
                </c:pt>
                <c:pt idx="9">
                  <c:v>0.0</c:v>
                </c:pt>
                <c:pt idx="10">
                  <c:v>0.0</c:v>
                </c:pt>
                <c:pt idx="11">
                  <c:v>0.0</c:v>
                </c:pt>
                <c:pt idx="12">
                  <c:v>0.0</c:v>
                </c:pt>
                <c:pt idx="13">
                  <c:v>0.0</c:v>
                </c:pt>
                <c:pt idx="14">
                  <c:v>0.0</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06</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dLbl>
              <c:idx val="5"/>
              <c:tx>
                <c:rich>
                  <a:bodyPr/>
                  <a:lstStyle/>
                  <a:p>
                    <a:r>
                      <a:t>108</a:t>
                    </a:r>
                  </a:p>
                </c:rich>
              </c:tx>
              <c:dLblPos val="ctr"/>
              <c:showLegendKey val="0"/>
              <c:showVal val="1"/>
              <c:showCatName val="0"/>
              <c:showSerName val="0"/>
              <c:showPercent val="0"/>
              <c:showBubbleSize val="0"/>
            </c:dLbl>
            <c:dLbl>
              <c:idx val="6"/>
              <c:tx>
                <c:rich>
                  <a:bodyPr/>
                  <a:lstStyle/>
                  <a:p>
                    <a:r>
                      <a:t>120</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17</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dLbl>
              <c:idx val="11"/>
              <c:tx>
                <c:rich>
                  <a:bodyPr/>
                  <a:lstStyle/>
                  <a:p>
                    <a:r>
                      <a:t>0</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dLbl>
              <c:idx val="14"/>
              <c:tx>
                <c:rich>
                  <a:bodyPr/>
                  <a:lstStyle/>
                  <a:p>
                    <a:r>
                      <a:t>0</a:t>
                    </a:r>
                  </a:p>
                </c:rich>
              </c:tx>
              <c:dLblPos val="ctr"/>
              <c:showLegendKey val="0"/>
              <c:showVal val="1"/>
              <c:showCatName val="0"/>
              <c:showSerName val="0"/>
              <c:showPercent val="0"/>
              <c:showBubbleSize val="0"/>
            </c:dLbl>
            <c:dLbl>
              <c:idx val="15"/>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1.308715223798925</c:v>
                </c:pt>
                <c:pt idx="2">
                  <c:v>1.0409956664994742</c:v>
                </c:pt>
                <c:pt idx="3">
                  <c:v>1.057423219255076</c:v>
                </c:pt>
                <c:pt idx="4">
                  <c:v>1.1799709567184131</c:v>
                </c:pt>
                <c:pt idx="5">
                  <c:v>1.0755071810784336</c:v>
                </c:pt>
                <c:pt idx="6">
                  <c:v>1.203036150835415</c:v>
                </c:pt>
                <c:pt idx="7">
                  <c:v>1.0301021611008314</c:v>
                </c:pt>
                <c:pt idx="8">
                  <c:v>1.1657529749183873</c:v>
                </c:pt>
                <c:pt idx="9">
                  <c:v>0.0</c:v>
                </c:pt>
                <c:pt idx="10">
                  <c:v>0.0</c:v>
                </c:pt>
                <c:pt idx="11">
                  <c:v>0.0</c:v>
                </c:pt>
                <c:pt idx="12">
                  <c:v>0.0</c:v>
                </c:pt>
                <c:pt idx="13">
                  <c:v>0.0</c:v>
                </c:pt>
                <c:pt idx="14">
                  <c:v>0.0</c:v>
                </c:pt>
                <c:pt idx="15">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79.861894</c:v>
                </c:pt>
                <c:pt idx="2">
                  <c:v>48.841392</c:v>
                </c:pt>
                <c:pt idx="3">
                  <c:v>32.969683</c:v>
                </c:pt>
                <c:pt idx="4">
                  <c:v>29.660078</c:v>
                </c:pt>
                <c:pt idx="5">
                  <c:v>24.183221</c:v>
                </c:pt>
                <c:pt idx="6">
                  <c:v>10.303675</c:v>
                </c:pt>
                <c:pt idx="7">
                  <c:v>6.374848</c:v>
                </c:pt>
                <c:pt idx="8">
                  <c:v>0.940955</c:v>
                </c:pt>
                <c:pt idx="9">
                  <c:v>0.0</c:v>
                </c:pt>
                <c:pt idx="10">
                  <c:v>0.0</c:v>
                </c:pt>
                <c:pt idx="11">
                  <c:v>0.0</c:v>
                </c:pt>
                <c:pt idx="12">
                  <c:v>0.0</c:v>
                </c:pt>
                <c:pt idx="13">
                  <c:v>0.0</c:v>
                </c:pt>
                <c:pt idx="14">
                  <c:v>0.0</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9.45</a:t>
                    </a:r>
                  </a:p>
                </c:rich>
              </c:tx>
              <c:dLblPos val="t"/>
              <c:showLegendKey val="0"/>
              <c:showVal val="1"/>
              <c:showCatName val="0"/>
              <c:showSerName val="0"/>
              <c:showPercent val="0"/>
              <c:showBubbleSize val="0"/>
            </c:dLbl>
            <c:dLbl>
              <c:idx val="3"/>
              <c:tx>
                <c:rich>
                  <a:bodyPr/>
                  <a:lstStyle/>
                  <a:p>
                    <a:r>
                      <a:t>15.10</a:t>
                    </a:r>
                  </a:p>
                </c:rich>
              </c:tx>
              <c:dLblPos val="t"/>
              <c:showLegendKey val="0"/>
              <c:showVal val="1"/>
              <c:showCatName val="0"/>
              <c:showSerName val="0"/>
              <c:showPercent val="0"/>
              <c:showBubbleSize val="0"/>
            </c:dLbl>
            <c:dLbl>
              <c:idx val="4"/>
              <c:tx>
                <c:rich>
                  <a:bodyPr/>
                  <a:lstStyle/>
                  <a:p>
                    <a:r>
                      <a:t>12.02</a:t>
                    </a:r>
                  </a:p>
                </c:rich>
              </c:tx>
              <c:dLblPos val="t"/>
              <c:showLegendKey val="0"/>
              <c:showVal val="1"/>
              <c:showCatName val="0"/>
              <c:showSerName val="0"/>
              <c:showPercent val="0"/>
              <c:showBubbleSize val="0"/>
            </c:dLbl>
            <c:dLbl>
              <c:idx val="5"/>
              <c:tx>
                <c:rich>
                  <a:bodyPr/>
                  <a:lstStyle/>
                  <a:p>
                    <a:r>
                      <a:t>12.57</a:t>
                    </a:r>
                  </a:p>
                </c:rich>
              </c:tx>
              <c:dLblPos val="t"/>
              <c:showLegendKey val="0"/>
              <c:showVal val="1"/>
              <c:showCatName val="0"/>
              <c:showSerName val="0"/>
              <c:showPercent val="0"/>
              <c:showBubbleSize val="0"/>
            </c:dLbl>
            <c:dLbl>
              <c:idx val="6"/>
              <c:tx>
                <c:rich>
                  <a:bodyPr/>
                  <a:lstStyle/>
                  <a:p>
                    <a:r>
                      <a:t>20.99</a:t>
                    </a:r>
                  </a:p>
                </c:rich>
              </c:tx>
              <c:dLblPos val="t"/>
              <c:showLegendKey val="0"/>
              <c:showVal val="1"/>
              <c:showCatName val="0"/>
              <c:showSerName val="0"/>
              <c:showPercent val="0"/>
              <c:showBubbleSize val="0"/>
            </c:dLbl>
            <c:dLbl>
              <c:idx val="7"/>
              <c:tx>
                <c:rich>
                  <a:bodyPr/>
                  <a:lstStyle/>
                  <a:p>
                    <a:r>
                      <a:t>20.96</a:t>
                    </a:r>
                  </a:p>
                </c:rich>
              </c:tx>
              <c:dLblPos val="t"/>
              <c:showLegendKey val="0"/>
              <c:showVal val="1"/>
              <c:showCatName val="0"/>
              <c:showSerName val="0"/>
              <c:showPercent val="0"/>
              <c:showBubbleSize val="0"/>
            </c:dLbl>
            <c:dLbl>
              <c:idx val="8"/>
              <c:tx>
                <c:rich>
                  <a:bodyPr/>
                  <a:lstStyle/>
                  <a:p>
                    <a:r>
                      <a:t>17.63</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dLbl>
              <c:idx val="11"/>
              <c:tx>
                <c:rich>
                  <a:bodyPr/>
                  <a:lstStyle/>
                  <a:p>
                    <a:r>
                      <a:t>0.00</a:t>
                    </a:r>
                  </a:p>
                </c:rich>
              </c:tx>
              <c:dLblPos val="t"/>
              <c:showLegendKey val="0"/>
              <c:showVal val="1"/>
              <c:showCatName val="0"/>
              <c:showSerName val="0"/>
              <c:showPercent val="0"/>
              <c:showBubbleSize val="0"/>
            </c:dLbl>
            <c:dLbl>
              <c:idx val="12"/>
              <c:tx>
                <c:rich>
                  <a:bodyPr/>
                  <a:lstStyle/>
                  <a:p>
                    <a:r>
                      <a:t>0.00</a:t>
                    </a:r>
                  </a:p>
                </c:rich>
              </c:tx>
              <c:dLblPos val="t"/>
              <c:showLegendKey val="0"/>
              <c:showVal val="1"/>
              <c:showCatName val="0"/>
              <c:showSerName val="0"/>
              <c:showPercent val="0"/>
              <c:showBubbleSize val="0"/>
            </c:dLbl>
            <c:dLbl>
              <c:idx val="13"/>
              <c:tx>
                <c:rich>
                  <a:bodyPr/>
                  <a:lstStyle/>
                  <a:p>
                    <a:r>
                      <a:t>0.00</a:t>
                    </a:r>
                  </a:p>
                </c:rich>
              </c:tx>
              <c:dLblPos val="t"/>
              <c:showLegendKey val="0"/>
              <c:showVal val="1"/>
              <c:showCatName val="0"/>
              <c:showSerName val="0"/>
              <c:showPercent val="0"/>
              <c:showBubbleSize val="0"/>
            </c:dLbl>
            <c:dLbl>
              <c:idx val="14"/>
              <c:tx>
                <c:rich>
                  <a:bodyPr/>
                  <a:lstStyle/>
                  <a:p>
                    <a:r>
                      <a:t>0.00</a:t>
                    </a:r>
                  </a:p>
                </c:rich>
              </c:tx>
              <c:dLblPos val="t"/>
              <c:showLegendKey val="0"/>
              <c:showVal val="1"/>
              <c:showCatName val="0"/>
              <c:showSerName val="0"/>
              <c:showPercent val="0"/>
              <c:showBubbleSize val="0"/>
            </c:dLbl>
            <c:dLbl>
              <c:idx val="15"/>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C$2:$C$17</c:f>
              <c:numCache>
                <c:formatCode>General</c:formatCode>
                <c:ptCount val="16"/>
                <c:pt idx="0">
                  <c:v>0.0</c:v>
                </c:pt>
                <c:pt idx="1">
                  <c:v>13.827</c:v>
                </c:pt>
                <c:pt idx="2">
                  <c:v>9.454</c:v>
                </c:pt>
                <c:pt idx="3">
                  <c:v>15.096</c:v>
                </c:pt>
                <c:pt idx="4">
                  <c:v>12.0214</c:v>
                </c:pt>
                <c:pt idx="5">
                  <c:v>12.568</c:v>
                </c:pt>
                <c:pt idx="6">
                  <c:v>20.9879</c:v>
                </c:pt>
                <c:pt idx="7">
                  <c:v>20.9582</c:v>
                </c:pt>
                <c:pt idx="8">
                  <c:v>17.6275</c:v>
                </c:pt>
                <c:pt idx="9">
                  <c:v>0.0</c:v>
                </c:pt>
                <c:pt idx="10">
                  <c:v>0.0</c:v>
                </c:pt>
                <c:pt idx="11">
                  <c:v>0.0</c:v>
                </c:pt>
                <c:pt idx="12">
                  <c:v>0.0</c:v>
                </c:pt>
                <c:pt idx="13">
                  <c:v>0.0</c:v>
                </c:pt>
                <c:pt idx="14">
                  <c:v>0.0</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06</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dLbl>
              <c:idx val="5"/>
              <c:tx>
                <c:rich>
                  <a:bodyPr/>
                  <a:lstStyle/>
                  <a:p>
                    <a:r>
                      <a:t>108</a:t>
                    </a:r>
                  </a:p>
                </c:rich>
              </c:tx>
              <c:dLblPos val="ctr"/>
              <c:showLegendKey val="0"/>
              <c:showVal val="1"/>
              <c:showCatName val="0"/>
              <c:showSerName val="0"/>
              <c:showPercent val="0"/>
              <c:showBubbleSize val="0"/>
            </c:dLbl>
            <c:dLbl>
              <c:idx val="6"/>
              <c:tx>
                <c:rich>
                  <a:bodyPr/>
                  <a:lstStyle/>
                  <a:p>
                    <a:r>
                      <a:t>120</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17</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dLbl>
              <c:idx val="11"/>
              <c:tx>
                <c:rich>
                  <a:bodyPr/>
                  <a:lstStyle/>
                  <a:p>
                    <a:r>
                      <a:t>0</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dLbl>
              <c:idx val="14"/>
              <c:tx>
                <c:rich>
                  <a:bodyPr/>
                  <a:lstStyle/>
                  <a:p>
                    <a:r>
                      <a:t>0</a:t>
                    </a:r>
                  </a:p>
                </c:rich>
              </c:tx>
              <c:dLblPos val="ctr"/>
              <c:showLegendKey val="0"/>
              <c:showVal val="1"/>
              <c:showCatName val="0"/>
              <c:showSerName val="0"/>
              <c:showPercent val="0"/>
              <c:showBubbleSize val="0"/>
            </c:dLbl>
            <c:dLbl>
              <c:idx val="15"/>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1.308715223798925</c:v>
                </c:pt>
                <c:pt idx="2">
                  <c:v>1.0409956664994742</c:v>
                </c:pt>
                <c:pt idx="3">
                  <c:v>1.057423219255076</c:v>
                </c:pt>
                <c:pt idx="4">
                  <c:v>1.1799709567184131</c:v>
                </c:pt>
                <c:pt idx="5">
                  <c:v>1.0755071810784336</c:v>
                </c:pt>
                <c:pt idx="6">
                  <c:v>1.203036150835415</c:v>
                </c:pt>
                <c:pt idx="7">
                  <c:v>1.0301021611008314</c:v>
                </c:pt>
                <c:pt idx="8">
                  <c:v>1.1657529749183873</c:v>
                </c:pt>
                <c:pt idx="9">
                  <c:v>0.0</c:v>
                </c:pt>
                <c:pt idx="10">
                  <c:v>0.0</c:v>
                </c:pt>
                <c:pt idx="11">
                  <c:v>0.0</c:v>
                </c:pt>
                <c:pt idx="12">
                  <c:v>0.0</c:v>
                </c:pt>
                <c:pt idx="13">
                  <c:v>0.0</c:v>
                </c:pt>
                <c:pt idx="14">
                  <c:v>0.0</c:v>
                </c:pt>
                <c:pt idx="15">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79.861894</c:v>
                </c:pt>
                <c:pt idx="2">
                  <c:v>48.841392</c:v>
                </c:pt>
                <c:pt idx="3">
                  <c:v>32.969683</c:v>
                </c:pt>
                <c:pt idx="4">
                  <c:v>29.660078</c:v>
                </c:pt>
                <c:pt idx="5">
                  <c:v>24.183221</c:v>
                </c:pt>
                <c:pt idx="6">
                  <c:v>10.303675</c:v>
                </c:pt>
                <c:pt idx="7">
                  <c:v>6.374848</c:v>
                </c:pt>
                <c:pt idx="8">
                  <c:v>0.940955</c:v>
                </c:pt>
                <c:pt idx="9">
                  <c:v>0.0</c:v>
                </c:pt>
                <c:pt idx="10">
                  <c:v>0.0</c:v>
                </c:pt>
                <c:pt idx="11">
                  <c:v>0.0</c:v>
                </c:pt>
                <c:pt idx="12">
                  <c:v>0.0</c:v>
                </c:pt>
                <c:pt idx="13">
                  <c:v>0.0</c:v>
                </c:pt>
                <c:pt idx="14">
                  <c:v>0.0</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9.45</a:t>
                    </a:r>
                  </a:p>
                </c:rich>
              </c:tx>
              <c:dLblPos val="t"/>
              <c:showLegendKey val="0"/>
              <c:showVal val="1"/>
              <c:showCatName val="0"/>
              <c:showSerName val="0"/>
              <c:showPercent val="0"/>
              <c:showBubbleSize val="0"/>
            </c:dLbl>
            <c:dLbl>
              <c:idx val="3"/>
              <c:tx>
                <c:rich>
                  <a:bodyPr/>
                  <a:lstStyle/>
                  <a:p>
                    <a:r>
                      <a:t>15.10</a:t>
                    </a:r>
                  </a:p>
                </c:rich>
              </c:tx>
              <c:dLblPos val="t"/>
              <c:showLegendKey val="0"/>
              <c:showVal val="1"/>
              <c:showCatName val="0"/>
              <c:showSerName val="0"/>
              <c:showPercent val="0"/>
              <c:showBubbleSize val="0"/>
            </c:dLbl>
            <c:dLbl>
              <c:idx val="4"/>
              <c:tx>
                <c:rich>
                  <a:bodyPr/>
                  <a:lstStyle/>
                  <a:p>
                    <a:r>
                      <a:t>12.02</a:t>
                    </a:r>
                  </a:p>
                </c:rich>
              </c:tx>
              <c:dLblPos val="t"/>
              <c:showLegendKey val="0"/>
              <c:showVal val="1"/>
              <c:showCatName val="0"/>
              <c:showSerName val="0"/>
              <c:showPercent val="0"/>
              <c:showBubbleSize val="0"/>
            </c:dLbl>
            <c:dLbl>
              <c:idx val="5"/>
              <c:tx>
                <c:rich>
                  <a:bodyPr/>
                  <a:lstStyle/>
                  <a:p>
                    <a:r>
                      <a:t>12.57</a:t>
                    </a:r>
                  </a:p>
                </c:rich>
              </c:tx>
              <c:dLblPos val="t"/>
              <c:showLegendKey val="0"/>
              <c:showVal val="1"/>
              <c:showCatName val="0"/>
              <c:showSerName val="0"/>
              <c:showPercent val="0"/>
              <c:showBubbleSize val="0"/>
            </c:dLbl>
            <c:dLbl>
              <c:idx val="6"/>
              <c:tx>
                <c:rich>
                  <a:bodyPr/>
                  <a:lstStyle/>
                  <a:p>
                    <a:r>
                      <a:t>20.99</a:t>
                    </a:r>
                  </a:p>
                </c:rich>
              </c:tx>
              <c:dLblPos val="t"/>
              <c:showLegendKey val="0"/>
              <c:showVal val="1"/>
              <c:showCatName val="0"/>
              <c:showSerName val="0"/>
              <c:showPercent val="0"/>
              <c:showBubbleSize val="0"/>
            </c:dLbl>
            <c:dLbl>
              <c:idx val="7"/>
              <c:tx>
                <c:rich>
                  <a:bodyPr/>
                  <a:lstStyle/>
                  <a:p>
                    <a:r>
                      <a:t>20.96</a:t>
                    </a:r>
                  </a:p>
                </c:rich>
              </c:tx>
              <c:dLblPos val="t"/>
              <c:showLegendKey val="0"/>
              <c:showVal val="1"/>
              <c:showCatName val="0"/>
              <c:showSerName val="0"/>
              <c:showPercent val="0"/>
              <c:showBubbleSize val="0"/>
            </c:dLbl>
            <c:dLbl>
              <c:idx val="8"/>
              <c:tx>
                <c:rich>
                  <a:bodyPr/>
                  <a:lstStyle/>
                  <a:p>
                    <a:r>
                      <a:t>17.63</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dLbl>
              <c:idx val="11"/>
              <c:tx>
                <c:rich>
                  <a:bodyPr/>
                  <a:lstStyle/>
                  <a:p>
                    <a:r>
                      <a:t>0.00</a:t>
                    </a:r>
                  </a:p>
                </c:rich>
              </c:tx>
              <c:dLblPos val="t"/>
              <c:showLegendKey val="0"/>
              <c:showVal val="1"/>
              <c:showCatName val="0"/>
              <c:showSerName val="0"/>
              <c:showPercent val="0"/>
              <c:showBubbleSize val="0"/>
            </c:dLbl>
            <c:dLbl>
              <c:idx val="12"/>
              <c:tx>
                <c:rich>
                  <a:bodyPr/>
                  <a:lstStyle/>
                  <a:p>
                    <a:r>
                      <a:t>0.00</a:t>
                    </a:r>
                  </a:p>
                </c:rich>
              </c:tx>
              <c:dLblPos val="t"/>
              <c:showLegendKey val="0"/>
              <c:showVal val="1"/>
              <c:showCatName val="0"/>
              <c:showSerName val="0"/>
              <c:showPercent val="0"/>
              <c:showBubbleSize val="0"/>
            </c:dLbl>
            <c:dLbl>
              <c:idx val="13"/>
              <c:tx>
                <c:rich>
                  <a:bodyPr/>
                  <a:lstStyle/>
                  <a:p>
                    <a:r>
                      <a:t>0.00</a:t>
                    </a:r>
                  </a:p>
                </c:rich>
              </c:tx>
              <c:dLblPos val="t"/>
              <c:showLegendKey val="0"/>
              <c:showVal val="1"/>
              <c:showCatName val="0"/>
              <c:showSerName val="0"/>
              <c:showPercent val="0"/>
              <c:showBubbleSize val="0"/>
            </c:dLbl>
            <c:dLbl>
              <c:idx val="14"/>
              <c:tx>
                <c:rich>
                  <a:bodyPr/>
                  <a:lstStyle/>
                  <a:p>
                    <a:r>
                      <a:t>0.00</a:t>
                    </a:r>
                  </a:p>
                </c:rich>
              </c:tx>
              <c:dLblPos val="t"/>
              <c:showLegendKey val="0"/>
              <c:showVal val="1"/>
              <c:showCatName val="0"/>
              <c:showSerName val="0"/>
              <c:showPercent val="0"/>
              <c:showBubbleSize val="0"/>
            </c:dLbl>
            <c:dLbl>
              <c:idx val="15"/>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C$2:$C$17</c:f>
              <c:numCache>
                <c:formatCode>General</c:formatCode>
                <c:ptCount val="16"/>
                <c:pt idx="0">
                  <c:v>0.0</c:v>
                </c:pt>
                <c:pt idx="1">
                  <c:v>13.827</c:v>
                </c:pt>
                <c:pt idx="2">
                  <c:v>9.454</c:v>
                </c:pt>
                <c:pt idx="3">
                  <c:v>15.096</c:v>
                </c:pt>
                <c:pt idx="4">
                  <c:v>12.0214</c:v>
                </c:pt>
                <c:pt idx="5">
                  <c:v>12.568</c:v>
                </c:pt>
                <c:pt idx="6">
                  <c:v>20.9879</c:v>
                </c:pt>
                <c:pt idx="7">
                  <c:v>20.9582</c:v>
                </c:pt>
                <c:pt idx="8">
                  <c:v>17.6275</c:v>
                </c:pt>
                <c:pt idx="9">
                  <c:v>0.0</c:v>
                </c:pt>
                <c:pt idx="10">
                  <c:v>0.0</c:v>
                </c:pt>
                <c:pt idx="11">
                  <c:v>0.0</c:v>
                </c:pt>
                <c:pt idx="12">
                  <c:v>0.0</c:v>
                </c:pt>
                <c:pt idx="13">
                  <c:v>0.0</c:v>
                </c:pt>
                <c:pt idx="14">
                  <c:v>0.0</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15478</c:v>
                </c:pt>
                <c:pt idx="1">
                  <c:v>2.470934</c:v>
                </c:pt>
                <c:pt idx="2">
                  <c:v>1.4280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93986</c:v>
                </c:pt>
                <c:pt idx="1">
                  <c:v>1.848771</c:v>
                </c:pt>
                <c:pt idx="2">
                  <c:v>1.11091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452</c:v>
                </c:pt>
                <c:pt idx="1">
                  <c:v>0.060839</c:v>
                </c:pt>
                <c:pt idx="2">
                  <c:v>0.03699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2597</c:v>
                </c:pt>
                <c:pt idx="1">
                  <c:v>0.112436</c:v>
                </c:pt>
                <c:pt idx="2">
                  <c:v>0.1351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06</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dLbl>
              <c:idx val="5"/>
              <c:tx>
                <c:rich>
                  <a:bodyPr/>
                  <a:lstStyle/>
                  <a:p>
                    <a:r>
                      <a:t>108</a:t>
                    </a:r>
                  </a:p>
                </c:rich>
              </c:tx>
              <c:dLblPos val="ctr"/>
              <c:showLegendKey val="0"/>
              <c:showVal val="1"/>
              <c:showCatName val="0"/>
              <c:showSerName val="0"/>
              <c:showPercent val="0"/>
              <c:showBubbleSize val="0"/>
            </c:dLbl>
            <c:dLbl>
              <c:idx val="6"/>
              <c:tx>
                <c:rich>
                  <a:bodyPr/>
                  <a:lstStyle/>
                  <a:p>
                    <a:r>
                      <a:t>120</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17</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dLbl>
              <c:idx val="11"/>
              <c:tx>
                <c:rich>
                  <a:bodyPr/>
                  <a:lstStyle/>
                  <a:p>
                    <a:r>
                      <a:t>0</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dLbl>
              <c:idx val="14"/>
              <c:tx>
                <c:rich>
                  <a:bodyPr/>
                  <a:lstStyle/>
                  <a:p>
                    <a:r>
                      <a:t>0</a:t>
                    </a:r>
                  </a:p>
                </c:rich>
              </c:tx>
              <c:dLblPos val="ctr"/>
              <c:showLegendKey val="0"/>
              <c:showVal val="1"/>
              <c:showCatName val="0"/>
              <c:showSerName val="0"/>
              <c:showPercent val="0"/>
              <c:showBubbleSize val="0"/>
            </c:dLbl>
            <c:dLbl>
              <c:idx val="15"/>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1.308715223798925</c:v>
                </c:pt>
                <c:pt idx="2">
                  <c:v>1.0409956664994742</c:v>
                </c:pt>
                <c:pt idx="3">
                  <c:v>1.057423219255076</c:v>
                </c:pt>
                <c:pt idx="4">
                  <c:v>1.1799709567184131</c:v>
                </c:pt>
                <c:pt idx="5">
                  <c:v>1.0755071810784336</c:v>
                </c:pt>
                <c:pt idx="6">
                  <c:v>1.203036150835415</c:v>
                </c:pt>
                <c:pt idx="7">
                  <c:v>1.0301021611008314</c:v>
                </c:pt>
                <c:pt idx="8">
                  <c:v>1.1657529749183873</c:v>
                </c:pt>
                <c:pt idx="9">
                  <c:v>0.0</c:v>
                </c:pt>
                <c:pt idx="10">
                  <c:v>0.0</c:v>
                </c:pt>
                <c:pt idx="11">
                  <c:v>0.0</c:v>
                </c:pt>
                <c:pt idx="12">
                  <c:v>0.0</c:v>
                </c:pt>
                <c:pt idx="13">
                  <c:v>0.0</c:v>
                </c:pt>
                <c:pt idx="14">
                  <c:v>0.0</c:v>
                </c:pt>
                <c:pt idx="15">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79.861894</c:v>
                </c:pt>
                <c:pt idx="2">
                  <c:v>48.841392</c:v>
                </c:pt>
                <c:pt idx="3">
                  <c:v>32.969683</c:v>
                </c:pt>
                <c:pt idx="4">
                  <c:v>29.660078</c:v>
                </c:pt>
                <c:pt idx="5">
                  <c:v>24.183221</c:v>
                </c:pt>
                <c:pt idx="6">
                  <c:v>10.303675</c:v>
                </c:pt>
                <c:pt idx="7">
                  <c:v>6.374848</c:v>
                </c:pt>
                <c:pt idx="8">
                  <c:v>0.940955</c:v>
                </c:pt>
                <c:pt idx="9">
                  <c:v>0.0</c:v>
                </c:pt>
                <c:pt idx="10">
                  <c:v>0.0</c:v>
                </c:pt>
                <c:pt idx="11">
                  <c:v>0.0</c:v>
                </c:pt>
                <c:pt idx="12">
                  <c:v>0.0</c:v>
                </c:pt>
                <c:pt idx="13">
                  <c:v>0.0</c:v>
                </c:pt>
                <c:pt idx="14">
                  <c:v>0.0</c:v>
                </c:pt>
                <c:pt idx="15">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00</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9.45</a:t>
                    </a:r>
                  </a:p>
                </c:rich>
              </c:tx>
              <c:dLblPos val="t"/>
              <c:showLegendKey val="0"/>
              <c:showVal val="1"/>
              <c:showCatName val="0"/>
              <c:showSerName val="0"/>
              <c:showPercent val="0"/>
              <c:showBubbleSize val="0"/>
            </c:dLbl>
            <c:dLbl>
              <c:idx val="3"/>
              <c:tx>
                <c:rich>
                  <a:bodyPr/>
                  <a:lstStyle/>
                  <a:p>
                    <a:r>
                      <a:t>15.10</a:t>
                    </a:r>
                  </a:p>
                </c:rich>
              </c:tx>
              <c:dLblPos val="t"/>
              <c:showLegendKey val="0"/>
              <c:showVal val="1"/>
              <c:showCatName val="0"/>
              <c:showSerName val="0"/>
              <c:showPercent val="0"/>
              <c:showBubbleSize val="0"/>
            </c:dLbl>
            <c:dLbl>
              <c:idx val="4"/>
              <c:tx>
                <c:rich>
                  <a:bodyPr/>
                  <a:lstStyle/>
                  <a:p>
                    <a:r>
                      <a:t>12.02</a:t>
                    </a:r>
                  </a:p>
                </c:rich>
              </c:tx>
              <c:dLblPos val="t"/>
              <c:showLegendKey val="0"/>
              <c:showVal val="1"/>
              <c:showCatName val="0"/>
              <c:showSerName val="0"/>
              <c:showPercent val="0"/>
              <c:showBubbleSize val="0"/>
            </c:dLbl>
            <c:dLbl>
              <c:idx val="5"/>
              <c:tx>
                <c:rich>
                  <a:bodyPr/>
                  <a:lstStyle/>
                  <a:p>
                    <a:r>
                      <a:t>12.57</a:t>
                    </a:r>
                  </a:p>
                </c:rich>
              </c:tx>
              <c:dLblPos val="t"/>
              <c:showLegendKey val="0"/>
              <c:showVal val="1"/>
              <c:showCatName val="0"/>
              <c:showSerName val="0"/>
              <c:showPercent val="0"/>
              <c:showBubbleSize val="0"/>
            </c:dLbl>
            <c:dLbl>
              <c:idx val="6"/>
              <c:tx>
                <c:rich>
                  <a:bodyPr/>
                  <a:lstStyle/>
                  <a:p>
                    <a:r>
                      <a:t>20.99</a:t>
                    </a:r>
                  </a:p>
                </c:rich>
              </c:tx>
              <c:dLblPos val="t"/>
              <c:showLegendKey val="0"/>
              <c:showVal val="1"/>
              <c:showCatName val="0"/>
              <c:showSerName val="0"/>
              <c:showPercent val="0"/>
              <c:showBubbleSize val="0"/>
            </c:dLbl>
            <c:dLbl>
              <c:idx val="7"/>
              <c:tx>
                <c:rich>
                  <a:bodyPr/>
                  <a:lstStyle/>
                  <a:p>
                    <a:r>
                      <a:t>20.96</a:t>
                    </a:r>
                  </a:p>
                </c:rich>
              </c:tx>
              <c:dLblPos val="t"/>
              <c:showLegendKey val="0"/>
              <c:showVal val="1"/>
              <c:showCatName val="0"/>
              <c:showSerName val="0"/>
              <c:showPercent val="0"/>
              <c:showBubbleSize val="0"/>
            </c:dLbl>
            <c:dLbl>
              <c:idx val="8"/>
              <c:tx>
                <c:rich>
                  <a:bodyPr/>
                  <a:lstStyle/>
                  <a:p>
                    <a:r>
                      <a:t>17.63</a:t>
                    </a:r>
                  </a:p>
                </c:rich>
              </c:tx>
              <c:dLblPos val="t"/>
              <c:showLegendKey val="0"/>
              <c:showVal val="1"/>
              <c:showCatName val="0"/>
              <c:showSerName val="0"/>
              <c:showPercent val="0"/>
              <c:showBubbleSize val="0"/>
            </c:dLbl>
            <c:dLbl>
              <c:idx val="9"/>
              <c:tx>
                <c:rich>
                  <a:bodyPr/>
                  <a:lstStyle/>
                  <a:p>
                    <a:r>
                      <a:t>0.00</a:t>
                    </a:r>
                  </a:p>
                </c:rich>
              </c:tx>
              <c:dLblPos val="t"/>
              <c:showLegendKey val="0"/>
              <c:showVal val="1"/>
              <c:showCatName val="0"/>
              <c:showSerName val="0"/>
              <c:showPercent val="0"/>
              <c:showBubbleSize val="0"/>
            </c:dLbl>
            <c:dLbl>
              <c:idx val="10"/>
              <c:tx>
                <c:rich>
                  <a:bodyPr/>
                  <a:lstStyle/>
                  <a:p>
                    <a:r>
                      <a:t>0.00</a:t>
                    </a:r>
                  </a:p>
                </c:rich>
              </c:tx>
              <c:dLblPos val="t"/>
              <c:showLegendKey val="0"/>
              <c:showVal val="1"/>
              <c:showCatName val="0"/>
              <c:showSerName val="0"/>
              <c:showPercent val="0"/>
              <c:showBubbleSize val="0"/>
            </c:dLbl>
            <c:dLbl>
              <c:idx val="11"/>
              <c:tx>
                <c:rich>
                  <a:bodyPr/>
                  <a:lstStyle/>
                  <a:p>
                    <a:r>
                      <a:t>0.00</a:t>
                    </a:r>
                  </a:p>
                </c:rich>
              </c:tx>
              <c:dLblPos val="t"/>
              <c:showLegendKey val="0"/>
              <c:showVal val="1"/>
              <c:showCatName val="0"/>
              <c:showSerName val="0"/>
              <c:showPercent val="0"/>
              <c:showBubbleSize val="0"/>
            </c:dLbl>
            <c:dLbl>
              <c:idx val="12"/>
              <c:tx>
                <c:rich>
                  <a:bodyPr/>
                  <a:lstStyle/>
                  <a:p>
                    <a:r>
                      <a:t>0.00</a:t>
                    </a:r>
                  </a:p>
                </c:rich>
              </c:tx>
              <c:dLblPos val="t"/>
              <c:showLegendKey val="0"/>
              <c:showVal val="1"/>
              <c:showCatName val="0"/>
              <c:showSerName val="0"/>
              <c:showPercent val="0"/>
              <c:showBubbleSize val="0"/>
            </c:dLbl>
            <c:dLbl>
              <c:idx val="13"/>
              <c:tx>
                <c:rich>
                  <a:bodyPr/>
                  <a:lstStyle/>
                  <a:p>
                    <a:r>
                      <a:t>0.00</a:t>
                    </a:r>
                  </a:p>
                </c:rich>
              </c:tx>
              <c:dLblPos val="t"/>
              <c:showLegendKey val="0"/>
              <c:showVal val="1"/>
              <c:showCatName val="0"/>
              <c:showSerName val="0"/>
              <c:showPercent val="0"/>
              <c:showBubbleSize val="0"/>
            </c:dLbl>
            <c:dLbl>
              <c:idx val="14"/>
              <c:tx>
                <c:rich>
                  <a:bodyPr/>
                  <a:lstStyle/>
                  <a:p>
                    <a:r>
                      <a:t>0.00</a:t>
                    </a:r>
                  </a:p>
                </c:rich>
              </c:tx>
              <c:dLblPos val="t"/>
              <c:showLegendKey val="0"/>
              <c:showVal val="1"/>
              <c:showCatName val="0"/>
              <c:showSerName val="0"/>
              <c:showPercent val="0"/>
              <c:showBubbleSize val="0"/>
            </c:dLbl>
            <c:dLbl>
              <c:idx val="15"/>
              <c:tx>
                <c:rich>
                  <a:bodyPr/>
                  <a:lstStyle/>
                  <a:p>
                    <a:r>
                      <a:t>0.0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C$2:$C$17</c:f>
              <c:numCache>
                <c:formatCode>General</c:formatCode>
                <c:ptCount val="16"/>
                <c:pt idx="0">
                  <c:v>0.0</c:v>
                </c:pt>
                <c:pt idx="1">
                  <c:v>13.827</c:v>
                </c:pt>
                <c:pt idx="2">
                  <c:v>9.454</c:v>
                </c:pt>
                <c:pt idx="3">
                  <c:v>15.096</c:v>
                </c:pt>
                <c:pt idx="4">
                  <c:v>12.0214</c:v>
                </c:pt>
                <c:pt idx="5">
                  <c:v>12.568</c:v>
                </c:pt>
                <c:pt idx="6">
                  <c:v>20.9879</c:v>
                </c:pt>
                <c:pt idx="7">
                  <c:v>20.9582</c:v>
                </c:pt>
                <c:pt idx="8">
                  <c:v>17.6275</c:v>
                </c:pt>
                <c:pt idx="9">
                  <c:v>0.0</c:v>
                </c:pt>
                <c:pt idx="10">
                  <c:v>0.0</c:v>
                </c:pt>
                <c:pt idx="11">
                  <c:v>0.0</c:v>
                </c:pt>
                <c:pt idx="12">
                  <c:v>0.0</c:v>
                </c:pt>
                <c:pt idx="13">
                  <c:v>0.0</c:v>
                </c:pt>
                <c:pt idx="14">
                  <c:v>0.0</c:v>
                </c:pt>
                <c:pt idx="15">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04</a:t>
                    </a:r>
                  </a:p>
                </c:rich>
              </c:tx>
              <c:dLblPos val="ctr"/>
              <c:showLegendKey val="0"/>
              <c:showVal val="1"/>
              <c:showCatName val="0"/>
              <c:showSerName val="0"/>
              <c:showPercent val="0"/>
              <c:showBubbleSize val="0"/>
            </c:dLbl>
            <c:dLbl>
              <c:idx val="3"/>
              <c:tx>
                <c:rich>
                  <a:bodyPr/>
                  <a:lstStyle/>
                  <a:p>
                    <a:r>
                      <a:t>106</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dLbl>
              <c:idx val="5"/>
              <c:tx>
                <c:rich>
                  <a:bodyPr/>
                  <a:lstStyle/>
                  <a:p>
                    <a:r>
                      <a:t>108</a:t>
                    </a:r>
                  </a:p>
                </c:rich>
              </c:tx>
              <c:dLblPos val="ctr"/>
              <c:showLegendKey val="0"/>
              <c:showVal val="1"/>
              <c:showCatName val="0"/>
              <c:showSerName val="0"/>
              <c:showPercent val="0"/>
              <c:showBubbleSize val="0"/>
            </c:dLbl>
            <c:dLbl>
              <c:idx val="6"/>
              <c:tx>
                <c:rich>
                  <a:bodyPr/>
                  <a:lstStyle/>
                  <a:p>
                    <a:r>
                      <a:t>120</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17</a:t>
                    </a:r>
                  </a:p>
                </c:rich>
              </c:tx>
              <c:dLblPos val="ctr"/>
              <c:showLegendKey val="0"/>
              <c:showVal val="1"/>
              <c:showCatName val="0"/>
              <c:showSerName val="0"/>
              <c:showPercent val="0"/>
              <c:showBubbleSize val="0"/>
            </c:dLbl>
            <c:dLbl>
              <c:idx val="9"/>
              <c:tx>
                <c:rich>
                  <a:bodyPr/>
                  <a:lstStyle/>
                  <a:p>
                    <a:r>
                      <a:t>0</a:t>
                    </a:r>
                  </a:p>
                </c:rich>
              </c:tx>
              <c:dLblPos val="ctr"/>
              <c:showLegendKey val="0"/>
              <c:showVal val="1"/>
              <c:showCatName val="0"/>
              <c:showSerName val="0"/>
              <c:showPercent val="0"/>
              <c:showBubbleSize val="0"/>
            </c:dLbl>
            <c:dLbl>
              <c:idx val="10"/>
              <c:tx>
                <c:rich>
                  <a:bodyPr/>
                  <a:lstStyle/>
                  <a:p>
                    <a:r>
                      <a:t>0</a:t>
                    </a:r>
                  </a:p>
                </c:rich>
              </c:tx>
              <c:dLblPos val="ctr"/>
              <c:showLegendKey val="0"/>
              <c:showVal val="1"/>
              <c:showCatName val="0"/>
              <c:showSerName val="0"/>
              <c:showPercent val="0"/>
              <c:showBubbleSize val="0"/>
            </c:dLbl>
            <c:dLbl>
              <c:idx val="11"/>
              <c:tx>
                <c:rich>
                  <a:bodyPr/>
                  <a:lstStyle/>
                  <a:p>
                    <a:r>
                      <a:t>0</a:t>
                    </a:r>
                  </a:p>
                </c:rich>
              </c:tx>
              <c:dLblPos val="ctr"/>
              <c:showLegendKey val="0"/>
              <c:showVal val="1"/>
              <c:showCatName val="0"/>
              <c:showSerName val="0"/>
              <c:showPercent val="0"/>
              <c:showBubbleSize val="0"/>
            </c:dLbl>
            <c:dLbl>
              <c:idx val="12"/>
              <c:tx>
                <c:rich>
                  <a:bodyPr/>
                  <a:lstStyle/>
                  <a:p>
                    <a:r>
                      <a:t>0</a:t>
                    </a:r>
                  </a:p>
                </c:rich>
              </c:tx>
              <c:dLblPos val="ctr"/>
              <c:showLegendKey val="0"/>
              <c:showVal val="1"/>
              <c:showCatName val="0"/>
              <c:showSerName val="0"/>
              <c:showPercent val="0"/>
              <c:showBubbleSize val="0"/>
            </c:dLbl>
            <c:dLbl>
              <c:idx val="13"/>
              <c:tx>
                <c:rich>
                  <a:bodyPr/>
                  <a:lstStyle/>
                  <a:p>
                    <a:r>
                      <a:t>0</a:t>
                    </a:r>
                  </a:p>
                </c:rich>
              </c:tx>
              <c:dLblPos val="ctr"/>
              <c:showLegendKey val="0"/>
              <c:showVal val="1"/>
              <c:showCatName val="0"/>
              <c:showSerName val="0"/>
              <c:showPercent val="0"/>
              <c:showBubbleSize val="0"/>
            </c:dLbl>
            <c:dLbl>
              <c:idx val="14"/>
              <c:tx>
                <c:rich>
                  <a:bodyPr/>
                  <a:lstStyle/>
                  <a:p>
                    <a:r>
                      <a:t>0</a:t>
                    </a:r>
                  </a:p>
                </c:rich>
              </c:tx>
              <c:dLblPos val="ctr"/>
              <c:showLegendKey val="0"/>
              <c:showVal val="1"/>
              <c:showCatName val="0"/>
              <c:showSerName val="0"/>
              <c:showPercent val="0"/>
              <c:showBubbleSize val="0"/>
            </c:dLbl>
            <c:dLbl>
              <c:idx val="15"/>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Ingredient A Chaud</c:v>
                </c:pt>
                <c:pt idx="1">
                  <c:v>Salade</c:v>
                </c:pt>
                <c:pt idx="2">
                  <c:v>Classique</c:v>
                </c:pt>
                <c:pt idx="3">
                  <c:v>Chevre</c:v>
                </c:pt>
                <c:pt idx="4">
                  <c:v>Frais A Tartiner</c:v>
                </c:pt>
                <c:pt idx="5">
                  <c:v>Enfant</c:v>
                </c:pt>
                <c:pt idx="6">
                  <c:v>Aperitif</c:v>
                </c:pt>
                <c:pt idx="7">
                  <c:v>Brebis</c:v>
                </c:pt>
                <c:pt idx="8">
                  <c:v>Alternative Vegetale</c:v>
                </c:pt>
                <c:pt idx="9">
                  <c:v>Bloc</c:v>
                </c:pt>
                <c:pt idx="10">
                  <c:v>Specialite</c:v>
                </c:pt>
                <c:pt idx="11">
                  <c:v>Tranche A Froid</c:v>
                </c:pt>
                <c:pt idx="12">
                  <c:v>Dessert</c:v>
                </c:pt>
                <c:pt idx="13">
                  <c:v>Rape</c:v>
                </c:pt>
                <c:pt idx="14">
                  <c:v>Plat Chaud</c:v>
                </c:pt>
                <c:pt idx="15">
                  <c:v>Pate Persillee</c:v>
                </c:pt>
              </c:strCache>
            </c:strRef>
          </c:cat>
          <c:val>
            <c:numRef>
              <c:f>Sheet1!$B$2:$B$17</c:f>
              <c:numCache>
                <c:formatCode>General</c:formatCode>
                <c:ptCount val="16"/>
                <c:pt idx="0">
                  <c:v>0.0</c:v>
                </c:pt>
                <c:pt idx="1">
                  <c:v>1.308715223798925</c:v>
                </c:pt>
                <c:pt idx="2">
                  <c:v>1.0409956664994742</c:v>
                </c:pt>
                <c:pt idx="3">
                  <c:v>1.057423219255076</c:v>
                </c:pt>
                <c:pt idx="4">
                  <c:v>1.1799709567184131</c:v>
                </c:pt>
                <c:pt idx="5">
                  <c:v>1.0755071810784336</c:v>
                </c:pt>
                <c:pt idx="6">
                  <c:v>1.203036150835415</c:v>
                </c:pt>
                <c:pt idx="7">
                  <c:v>1.0301021611008314</c:v>
                </c:pt>
                <c:pt idx="8">
                  <c:v>1.1657529749183873</c:v>
                </c:pt>
                <c:pt idx="9">
                  <c:v>0.0</c:v>
                </c:pt>
                <c:pt idx="10">
                  <c:v>0.0</c:v>
                </c:pt>
                <c:pt idx="11">
                  <c:v>0.0</c:v>
                </c:pt>
                <c:pt idx="12">
                  <c:v>0.0</c:v>
                </c:pt>
                <c:pt idx="13">
                  <c:v>0.0</c:v>
                </c:pt>
                <c:pt idx="14">
                  <c:v>0.0</c:v>
                </c:pt>
                <c:pt idx="15">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00138</c:v>
                </c:pt>
                <c:pt idx="1">
                  <c:v>59.464931</c:v>
                </c:pt>
                <c:pt idx="2">
                  <c:v>56.151853</c:v>
                </c:pt>
                <c:pt idx="3">
                  <c:v>41.46819</c:v>
                </c:pt>
                <c:pt idx="4">
                  <c:v>40.274229</c:v>
                </c:pt>
                <c:pt idx="5">
                  <c:v>27.87398</c:v>
                </c:pt>
                <c:pt idx="6">
                  <c:v>25.737106</c:v>
                </c:pt>
                <c:pt idx="7">
                  <c:v>25.477487</c:v>
                </c:pt>
                <c:pt idx="8">
                  <c:v>19.52622</c:v>
                </c:pt>
                <c:pt idx="9">
                  <c:v>19.120887</c:v>
                </c:pt>
                <c:pt idx="10">
                  <c:v>12.51123</c:v>
                </c:pt>
                <c:pt idx="11">
                  <c:v>10.017999</c:v>
                </c:pt>
                <c:pt idx="12">
                  <c:v>8.127698</c:v>
                </c:pt>
                <c:pt idx="13">
                  <c:v>5.679185</c:v>
                </c:pt>
                <c:pt idx="14">
                  <c:v>5.420683</c:v>
                </c:pt>
                <c:pt idx="15">
                  <c:v>5.37055</c:v>
                </c:pt>
                <c:pt idx="16">
                  <c:v>0.452211</c:v>
                </c:pt>
                <c:pt idx="17">
                  <c:v>0.185273</c:v>
                </c:pt>
                <c:pt idx="18">
                  <c:v>0.030515</c:v>
                </c:pt>
                <c:pt idx="19">
                  <c:v>0.004386</c:v>
                </c:pt>
                <c:pt idx="20">
                  <c:v>0.00137</c:v>
                </c:pt>
                <c:pt idx="21">
                  <c:v>0.00056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00</a:t>
                    </a:r>
                  </a:p>
                </c:rich>
              </c:tx>
              <c:dLblPos val="t"/>
              <c:showLegendKey val="0"/>
              <c:showVal val="1"/>
              <c:showCatName val="0"/>
              <c:showSerName val="0"/>
              <c:showPercent val="0"/>
              <c:showBubbleSize val="0"/>
            </c:dLbl>
            <c:dLbl>
              <c:idx val="1"/>
              <c:tx>
                <c:rich>
                  <a:bodyPr/>
                  <a:lstStyle/>
                  <a:p>
                    <a:r>
                      <a:t>10.49</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9.10</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7</a:t>
                    </a:r>
                  </a:p>
                </c:rich>
              </c:tx>
              <c:dLblPos val="t"/>
              <c:showLegendKey val="0"/>
              <c:showVal val="1"/>
              <c:showCatName val="0"/>
              <c:showSerName val="0"/>
              <c:showPercent val="0"/>
              <c:showBubbleSize val="0"/>
            </c:dLbl>
            <c:dLbl>
              <c:idx val="6"/>
              <c:tx>
                <c:rich>
                  <a:bodyPr/>
                  <a:lstStyle/>
                  <a:p>
                    <a:r>
                      <a:t>11.77</a:t>
                    </a:r>
                  </a:p>
                </c:rich>
              </c:tx>
              <c:dLblPos val="t"/>
              <c:showLegendKey val="0"/>
              <c:showVal val="1"/>
              <c:showCatName val="0"/>
              <c:showSerName val="0"/>
              <c:showPercent val="0"/>
              <c:showBubbleSize val="0"/>
            </c:dLbl>
            <c:dLbl>
              <c:idx val="7"/>
              <c:tx>
                <c:rich>
                  <a:bodyPr/>
                  <a:lstStyle/>
                  <a:p>
                    <a:r>
                      <a:t>12.90</a:t>
                    </a:r>
                  </a:p>
                </c:rich>
              </c:tx>
              <c:dLblPos val="t"/>
              <c:showLegendKey val="0"/>
              <c:showVal val="1"/>
              <c:showCatName val="0"/>
              <c:showSerName val="0"/>
              <c:showPercent val="0"/>
              <c:showBubbleSize val="0"/>
            </c:dLbl>
            <c:dLbl>
              <c:idx val="8"/>
              <c:tx>
                <c:rich>
                  <a:bodyPr/>
                  <a:lstStyle/>
                  <a:p>
                    <a:r>
                      <a:t>12.81</a:t>
                    </a:r>
                  </a:p>
                </c:rich>
              </c:tx>
              <c:dLblPos val="t"/>
              <c:showLegendKey val="0"/>
              <c:showVal val="1"/>
              <c:showCatName val="0"/>
              <c:showSerName val="0"/>
              <c:showPercent val="0"/>
              <c:showBubbleSize val="0"/>
            </c:dLbl>
            <c:dLbl>
              <c:idx val="9"/>
              <c:tx>
                <c:rich>
                  <a:bodyPr/>
                  <a:lstStyle/>
                  <a:p>
                    <a:r>
                      <a:t>12.16</a:t>
                    </a:r>
                  </a:p>
                </c:rich>
              </c:tx>
              <c:dLblPos val="t"/>
              <c:showLegendKey val="0"/>
              <c:showVal val="1"/>
              <c:showCatName val="0"/>
              <c:showSerName val="0"/>
              <c:showPercent val="0"/>
              <c:showBubbleSize val="0"/>
            </c:dLbl>
            <c:dLbl>
              <c:idx val="10"/>
              <c:tx>
                <c:rich>
                  <a:bodyPr/>
                  <a:lstStyle/>
                  <a:p>
                    <a:r>
                      <a:t>16.43</a:t>
                    </a:r>
                  </a:p>
                </c:rich>
              </c:tx>
              <c:dLblPos val="t"/>
              <c:showLegendKey val="0"/>
              <c:showVal val="1"/>
              <c:showCatName val="0"/>
              <c:showSerName val="0"/>
              <c:showPercent val="0"/>
              <c:showBubbleSize val="0"/>
            </c:dLbl>
            <c:dLbl>
              <c:idx val="11"/>
              <c:tx>
                <c:rich>
                  <a:bodyPr/>
                  <a:lstStyle/>
                  <a:p>
                    <a:r>
                      <a:t>20.26</a:t>
                    </a:r>
                  </a:p>
                </c:rich>
              </c:tx>
              <c:dLblPos val="t"/>
              <c:showLegendKey val="0"/>
              <c:showVal val="1"/>
              <c:showCatName val="0"/>
              <c:showSerName val="0"/>
              <c:showPercent val="0"/>
              <c:showBubbleSize val="0"/>
            </c:dLbl>
            <c:dLbl>
              <c:idx val="12"/>
              <c:tx>
                <c:rich>
                  <a:bodyPr/>
                  <a:lstStyle/>
                  <a:p>
                    <a:r>
                      <a:t>7.73</a:t>
                    </a:r>
                  </a:p>
                </c:rich>
              </c:tx>
              <c:dLblPos val="t"/>
              <c:showLegendKey val="0"/>
              <c:showVal val="1"/>
              <c:showCatName val="0"/>
              <c:showSerName val="0"/>
              <c:showPercent val="0"/>
              <c:showBubbleSize val="0"/>
            </c:dLbl>
            <c:dLbl>
              <c:idx val="13"/>
              <c:tx>
                <c:rich>
                  <a:bodyPr/>
                  <a:lstStyle/>
                  <a:p>
                    <a:r>
                      <a:t>7.53</a:t>
                    </a:r>
                  </a:p>
                </c:rich>
              </c:tx>
              <c:dLblPos val="t"/>
              <c:showLegendKey val="0"/>
              <c:showVal val="1"/>
              <c:showCatName val="0"/>
              <c:showSerName val="0"/>
              <c:showPercent val="0"/>
              <c:showBubbleSize val="0"/>
            </c:dLbl>
            <c:dLbl>
              <c:idx val="14"/>
              <c:tx>
                <c:rich>
                  <a:bodyPr/>
                  <a:lstStyle/>
                  <a:p>
                    <a:r>
                      <a:t>12.96</a:t>
                    </a:r>
                  </a:p>
                </c:rich>
              </c:tx>
              <c:dLblPos val="t"/>
              <c:showLegendKey val="0"/>
              <c:showVal val="1"/>
              <c:showCatName val="0"/>
              <c:showSerName val="0"/>
              <c:showPercent val="0"/>
              <c:showBubbleSize val="0"/>
            </c:dLbl>
            <c:dLbl>
              <c:idx val="15"/>
              <c:tx>
                <c:rich>
                  <a:bodyPr/>
                  <a:lstStyle/>
                  <a:p>
                    <a:r>
                      <a:t>19.19</a:t>
                    </a:r>
                  </a:p>
                </c:rich>
              </c:tx>
              <c:dLblPos val="t"/>
              <c:showLegendKey val="0"/>
              <c:showVal val="1"/>
              <c:showCatName val="0"/>
              <c:showSerName val="0"/>
              <c:showPercent val="0"/>
              <c:showBubbleSize val="0"/>
            </c:dLbl>
            <c:dLbl>
              <c:idx val="16"/>
              <c:tx>
                <c:rich>
                  <a:bodyPr/>
                  <a:lstStyle/>
                  <a:p>
                    <a:r>
                      <a:t>16.99</a:t>
                    </a:r>
                  </a:p>
                </c:rich>
              </c:tx>
              <c:dLblPos val="t"/>
              <c:showLegendKey val="0"/>
              <c:showVal val="1"/>
              <c:showCatName val="0"/>
              <c:showSerName val="0"/>
              <c:showPercent val="0"/>
              <c:showBubbleSize val="0"/>
            </c:dLbl>
            <c:dLbl>
              <c:idx val="17"/>
              <c:tx>
                <c:rich>
                  <a:bodyPr/>
                  <a:lstStyle/>
                  <a:p>
                    <a:r>
                      <a:t>20.57</a:t>
                    </a:r>
                  </a:p>
                </c:rich>
              </c:tx>
              <c:dLblPos val="t"/>
              <c:showLegendKey val="0"/>
              <c:showVal val="1"/>
              <c:showCatName val="0"/>
              <c:showSerName val="0"/>
              <c:showPercent val="0"/>
              <c:showBubbleSize val="0"/>
            </c:dLbl>
            <c:dLbl>
              <c:idx val="18"/>
              <c:tx>
                <c:rich>
                  <a:bodyPr/>
                  <a:lstStyle/>
                  <a:p>
                    <a:r>
                      <a:t>19.70</a:t>
                    </a:r>
                  </a:p>
                </c:rich>
              </c:tx>
              <c:dLblPos val="t"/>
              <c:showLegendKey val="0"/>
              <c:showVal val="1"/>
              <c:showCatName val="0"/>
              <c:showSerName val="0"/>
              <c:showPercent val="0"/>
              <c:showBubbleSize val="0"/>
            </c:dLbl>
            <c:dLbl>
              <c:idx val="19"/>
              <c:tx>
                <c:rich>
                  <a:bodyPr/>
                  <a:lstStyle/>
                  <a:p>
                    <a:r>
                      <a:t>24.50</a:t>
                    </a:r>
                  </a:p>
                </c:rich>
              </c:tx>
              <c:dLblPos val="t"/>
              <c:showLegendKey val="0"/>
              <c:showVal val="1"/>
              <c:showCatName val="0"/>
              <c:showSerName val="0"/>
              <c:showPercent val="0"/>
              <c:showBubbleSize val="0"/>
            </c:dLbl>
            <c:dLbl>
              <c:idx val="20"/>
              <c:tx>
                <c:rich>
                  <a:bodyPr/>
                  <a:lstStyle/>
                  <a:p>
                    <a:r>
                      <a:t>28.54</a:t>
                    </a:r>
                  </a:p>
                </c:rich>
              </c:tx>
              <c:dLblPos val="t"/>
              <c:showLegendKey val="0"/>
              <c:showVal val="1"/>
              <c:showCatName val="0"/>
              <c:showSerName val="0"/>
              <c:showPercent val="0"/>
              <c:showBubbleSize val="0"/>
            </c:dLbl>
            <c:dLbl>
              <c:idx val="21"/>
              <c:tx>
                <c:rich>
                  <a:bodyPr/>
                  <a:lstStyle/>
                  <a:p>
                    <a:r>
                      <a:t>14.1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C$2:$C$23</c:f>
              <c:numCache>
                <c:formatCode>General</c:formatCode>
                <c:ptCount val="22"/>
                <c:pt idx="0">
                  <c:v>46.0</c:v>
                </c:pt>
                <c:pt idx="1">
                  <c:v>10.4901</c:v>
                </c:pt>
                <c:pt idx="2">
                  <c:v>12.5101</c:v>
                </c:pt>
                <c:pt idx="3">
                  <c:v>9.1002</c:v>
                </c:pt>
                <c:pt idx="4">
                  <c:v>12.7436</c:v>
                </c:pt>
                <c:pt idx="5">
                  <c:v>11.5665</c:v>
                </c:pt>
                <c:pt idx="6">
                  <c:v>11.7665</c:v>
                </c:pt>
                <c:pt idx="7">
                  <c:v>12.8956</c:v>
                </c:pt>
                <c:pt idx="8">
                  <c:v>12.8139</c:v>
                </c:pt>
                <c:pt idx="9">
                  <c:v>12.1598</c:v>
                </c:pt>
                <c:pt idx="10">
                  <c:v>16.4333</c:v>
                </c:pt>
                <c:pt idx="11">
                  <c:v>20.2602</c:v>
                </c:pt>
                <c:pt idx="12">
                  <c:v>7.7271</c:v>
                </c:pt>
                <c:pt idx="13">
                  <c:v>7.5289</c:v>
                </c:pt>
                <c:pt idx="14">
                  <c:v>12.9587</c:v>
                </c:pt>
                <c:pt idx="15">
                  <c:v>19.1903</c:v>
                </c:pt>
                <c:pt idx="16">
                  <c:v>16.9927</c:v>
                </c:pt>
                <c:pt idx="17">
                  <c:v>20.5653</c:v>
                </c:pt>
                <c:pt idx="18">
                  <c:v>19.6998</c:v>
                </c:pt>
                <c:pt idx="19">
                  <c:v>24.5028</c:v>
                </c:pt>
                <c:pt idx="20">
                  <c:v>28.5417</c:v>
                </c:pt>
                <c:pt idx="21">
                  <c:v>1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02</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8</a:t>
                    </a:r>
                  </a:p>
                </c:rich>
              </c:tx>
              <c:dLblPos val="ctr"/>
              <c:showLegendKey val="0"/>
              <c:showVal val="1"/>
              <c:showCatName val="0"/>
              <c:showSerName val="0"/>
              <c:showPercent val="0"/>
              <c:showBubbleSize val="0"/>
            </c:dLbl>
            <c:dLbl>
              <c:idx val="5"/>
              <c:tx>
                <c:rich>
                  <a:bodyPr/>
                  <a:lstStyle/>
                  <a:p>
                    <a:r>
                      <a:t>100</a:t>
                    </a:r>
                  </a:p>
                </c:rich>
              </c:tx>
              <c:dLblPos val="ctr"/>
              <c:showLegendKey val="0"/>
              <c:showVal val="1"/>
              <c:showCatName val="0"/>
              <c:showSerName val="0"/>
              <c:showPercent val="0"/>
              <c:showBubbleSize val="0"/>
            </c:dLbl>
            <c:dLbl>
              <c:idx val="6"/>
              <c:tx>
                <c:rich>
                  <a:bodyPr/>
                  <a:lstStyle/>
                  <a:p>
                    <a:r>
                      <a:t>118</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08</a:t>
                    </a:r>
                  </a:p>
                </c:rich>
              </c:tx>
              <c:dLblPos val="ctr"/>
              <c:showLegendKey val="0"/>
              <c:showVal val="1"/>
              <c:showCatName val="0"/>
              <c:showSerName val="0"/>
              <c:showPercent val="0"/>
              <c:showBubbleSize val="0"/>
            </c:dLbl>
            <c:dLbl>
              <c:idx val="9"/>
              <c:tx>
                <c:rich>
                  <a:bodyPr/>
                  <a:lstStyle/>
                  <a:p>
                    <a:r>
                      <a:t>115</a:t>
                    </a:r>
                  </a:p>
                </c:rich>
              </c:tx>
              <c:dLblPos val="ctr"/>
              <c:showLegendKey val="0"/>
              <c:showVal val="1"/>
              <c:showCatName val="0"/>
              <c:showSerName val="0"/>
              <c:showPercent val="0"/>
              <c:showBubbleSize val="0"/>
            </c:dLbl>
            <c:dLbl>
              <c:idx val="10"/>
              <c:tx>
                <c:rich>
                  <a:bodyPr/>
                  <a:lstStyle/>
                  <a:p>
                    <a:r>
                      <a:t>106</a:t>
                    </a:r>
                  </a:p>
                </c:rich>
              </c:tx>
              <c:dLblPos val="ctr"/>
              <c:showLegendKey val="0"/>
              <c:showVal val="1"/>
              <c:showCatName val="0"/>
              <c:showSerName val="0"/>
              <c:showPercent val="0"/>
              <c:showBubbleSize val="0"/>
            </c:dLbl>
            <c:dLbl>
              <c:idx val="11"/>
              <c:tx>
                <c:rich>
                  <a:bodyPr/>
                  <a:lstStyle/>
                  <a:p>
                    <a:r>
                      <a:t>112</a:t>
                    </a:r>
                  </a:p>
                </c:rich>
              </c:tx>
              <c:dLblPos val="ctr"/>
              <c:showLegendKey val="0"/>
              <c:showVal val="1"/>
              <c:showCatName val="0"/>
              <c:showSerName val="0"/>
              <c:showPercent val="0"/>
              <c:showBubbleSize val="0"/>
            </c:dLbl>
            <c:dLbl>
              <c:idx val="12"/>
              <c:tx>
                <c:rich>
                  <a:bodyPr/>
                  <a:lstStyle/>
                  <a:p>
                    <a:r>
                      <a:t>99</a:t>
                    </a:r>
                  </a:p>
                </c:rich>
              </c:tx>
              <c:dLblPos val="ctr"/>
              <c:showLegendKey val="0"/>
              <c:showVal val="1"/>
              <c:showCatName val="0"/>
              <c:showSerName val="0"/>
              <c:showPercent val="0"/>
              <c:showBubbleSize val="0"/>
            </c:dLbl>
            <c:dLbl>
              <c:idx val="13"/>
              <c:tx>
                <c:rich>
                  <a:bodyPr/>
                  <a:lstStyle/>
                  <a:p>
                    <a:r>
                      <a:t>104</a:t>
                    </a:r>
                  </a:p>
                </c:rich>
              </c:tx>
              <c:dLblPos val="ctr"/>
              <c:showLegendKey val="0"/>
              <c:showVal val="1"/>
              <c:showCatName val="0"/>
              <c:showSerName val="0"/>
              <c:showPercent val="0"/>
              <c:showBubbleSize val="0"/>
            </c:dLbl>
            <c:dLbl>
              <c:idx val="14"/>
              <c:tx>
                <c:rich>
                  <a:bodyPr/>
                  <a:lstStyle/>
                  <a:p>
                    <a:r>
                      <a:t>91</a:t>
                    </a:r>
                  </a:p>
                </c:rich>
              </c:tx>
              <c:dLblPos val="ctr"/>
              <c:showLegendKey val="0"/>
              <c:showVal val="1"/>
              <c:showCatName val="0"/>
              <c:showSerName val="0"/>
              <c:showPercent val="0"/>
              <c:showBubbleSize val="0"/>
            </c:dLbl>
            <c:dLbl>
              <c:idx val="15"/>
              <c:tx>
                <c:rich>
                  <a:bodyPr/>
                  <a:lstStyle/>
                  <a:p>
                    <a:r>
                      <a:t>108</a:t>
                    </a:r>
                  </a:p>
                </c:rich>
              </c:tx>
              <c:dLblPos val="ctr"/>
              <c:showLegendKey val="0"/>
              <c:showVal val="1"/>
              <c:showCatName val="0"/>
              <c:showSerName val="0"/>
              <c:showPercent val="0"/>
              <c:showBubbleSize val="0"/>
            </c:dLbl>
            <c:dLbl>
              <c:idx val="16"/>
              <c:tx>
                <c:rich>
                  <a:bodyPr/>
                  <a:lstStyle/>
                  <a:p>
                    <a:r>
                      <a:t>137</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dLbl>
              <c:idx val="21"/>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c:v>
                </c:pt>
                <c:pt idx="1">
                  <c:v>1.0186250579074414</c:v>
                </c:pt>
                <c:pt idx="2">
                  <c:v>1.343737056637641</c:v>
                </c:pt>
                <c:pt idx="3">
                  <c:v>1.0193409396644273</c:v>
                </c:pt>
                <c:pt idx="4">
                  <c:v>1.081791881336964</c:v>
                </c:pt>
                <c:pt idx="5">
                  <c:v>0.9981211003145369</c:v>
                </c:pt>
                <c:pt idx="6">
                  <c:v>1.1768257951543253</c:v>
                </c:pt>
                <c:pt idx="7">
                  <c:v>1.0296590453739278</c:v>
                </c:pt>
                <c:pt idx="8">
                  <c:v>1.0788033009484201</c:v>
                </c:pt>
                <c:pt idx="9">
                  <c:v>1.1537017203959814</c:v>
                </c:pt>
                <c:pt idx="10">
                  <c:v>1.0591193784469317</c:v>
                </c:pt>
                <c:pt idx="11">
                  <c:v>1.1184423662170084</c:v>
                </c:pt>
                <c:pt idx="12">
                  <c:v>0.9895265533636144</c:v>
                </c:pt>
                <c:pt idx="13">
                  <c:v>1.0387279828482863</c:v>
                </c:pt>
                <c:pt idx="14">
                  <c:v>0.914380875991333</c:v>
                </c:pt>
                <c:pt idx="15">
                  <c:v>1.078172554184166</c:v>
                </c:pt>
                <c:pt idx="16">
                  <c:v>1.370415266333516</c:v>
                </c:pt>
                <c:pt idx="17">
                  <c:v>0.0</c:v>
                </c:pt>
                <c:pt idx="18">
                  <c:v>0.0</c:v>
                </c:pt>
                <c:pt idx="19">
                  <c:v>0.0</c:v>
                </c:pt>
                <c:pt idx="20">
                  <c:v>0.0</c:v>
                </c:pt>
                <c:pt idx="21">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00138</c:v>
                </c:pt>
                <c:pt idx="1">
                  <c:v>59.464931</c:v>
                </c:pt>
                <c:pt idx="2">
                  <c:v>56.151853</c:v>
                </c:pt>
                <c:pt idx="3">
                  <c:v>41.46819</c:v>
                </c:pt>
                <c:pt idx="4">
                  <c:v>40.274229</c:v>
                </c:pt>
                <c:pt idx="5">
                  <c:v>27.87398</c:v>
                </c:pt>
                <c:pt idx="6">
                  <c:v>25.737106</c:v>
                </c:pt>
                <c:pt idx="7">
                  <c:v>25.477487</c:v>
                </c:pt>
                <c:pt idx="8">
                  <c:v>19.52622</c:v>
                </c:pt>
                <c:pt idx="9">
                  <c:v>19.120887</c:v>
                </c:pt>
                <c:pt idx="10">
                  <c:v>12.51123</c:v>
                </c:pt>
                <c:pt idx="11">
                  <c:v>10.017999</c:v>
                </c:pt>
                <c:pt idx="12">
                  <c:v>8.127698</c:v>
                </c:pt>
                <c:pt idx="13">
                  <c:v>5.679185</c:v>
                </c:pt>
                <c:pt idx="14">
                  <c:v>5.420683</c:v>
                </c:pt>
                <c:pt idx="15">
                  <c:v>5.37055</c:v>
                </c:pt>
                <c:pt idx="16">
                  <c:v>0.452211</c:v>
                </c:pt>
                <c:pt idx="17">
                  <c:v>0.185273</c:v>
                </c:pt>
                <c:pt idx="18">
                  <c:v>0.030515</c:v>
                </c:pt>
                <c:pt idx="19">
                  <c:v>0.004386</c:v>
                </c:pt>
                <c:pt idx="20">
                  <c:v>0.00137</c:v>
                </c:pt>
                <c:pt idx="21">
                  <c:v>0.00056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00</a:t>
                    </a:r>
                  </a:p>
                </c:rich>
              </c:tx>
              <c:dLblPos val="t"/>
              <c:showLegendKey val="0"/>
              <c:showVal val="1"/>
              <c:showCatName val="0"/>
              <c:showSerName val="0"/>
              <c:showPercent val="0"/>
              <c:showBubbleSize val="0"/>
            </c:dLbl>
            <c:dLbl>
              <c:idx val="1"/>
              <c:tx>
                <c:rich>
                  <a:bodyPr/>
                  <a:lstStyle/>
                  <a:p>
                    <a:r>
                      <a:t>10.49</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9.10</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7</a:t>
                    </a:r>
                  </a:p>
                </c:rich>
              </c:tx>
              <c:dLblPos val="t"/>
              <c:showLegendKey val="0"/>
              <c:showVal val="1"/>
              <c:showCatName val="0"/>
              <c:showSerName val="0"/>
              <c:showPercent val="0"/>
              <c:showBubbleSize val="0"/>
            </c:dLbl>
            <c:dLbl>
              <c:idx val="6"/>
              <c:tx>
                <c:rich>
                  <a:bodyPr/>
                  <a:lstStyle/>
                  <a:p>
                    <a:r>
                      <a:t>11.77</a:t>
                    </a:r>
                  </a:p>
                </c:rich>
              </c:tx>
              <c:dLblPos val="t"/>
              <c:showLegendKey val="0"/>
              <c:showVal val="1"/>
              <c:showCatName val="0"/>
              <c:showSerName val="0"/>
              <c:showPercent val="0"/>
              <c:showBubbleSize val="0"/>
            </c:dLbl>
            <c:dLbl>
              <c:idx val="7"/>
              <c:tx>
                <c:rich>
                  <a:bodyPr/>
                  <a:lstStyle/>
                  <a:p>
                    <a:r>
                      <a:t>12.90</a:t>
                    </a:r>
                  </a:p>
                </c:rich>
              </c:tx>
              <c:dLblPos val="t"/>
              <c:showLegendKey val="0"/>
              <c:showVal val="1"/>
              <c:showCatName val="0"/>
              <c:showSerName val="0"/>
              <c:showPercent val="0"/>
              <c:showBubbleSize val="0"/>
            </c:dLbl>
            <c:dLbl>
              <c:idx val="8"/>
              <c:tx>
                <c:rich>
                  <a:bodyPr/>
                  <a:lstStyle/>
                  <a:p>
                    <a:r>
                      <a:t>12.81</a:t>
                    </a:r>
                  </a:p>
                </c:rich>
              </c:tx>
              <c:dLblPos val="t"/>
              <c:showLegendKey val="0"/>
              <c:showVal val="1"/>
              <c:showCatName val="0"/>
              <c:showSerName val="0"/>
              <c:showPercent val="0"/>
              <c:showBubbleSize val="0"/>
            </c:dLbl>
            <c:dLbl>
              <c:idx val="9"/>
              <c:tx>
                <c:rich>
                  <a:bodyPr/>
                  <a:lstStyle/>
                  <a:p>
                    <a:r>
                      <a:t>12.16</a:t>
                    </a:r>
                  </a:p>
                </c:rich>
              </c:tx>
              <c:dLblPos val="t"/>
              <c:showLegendKey val="0"/>
              <c:showVal val="1"/>
              <c:showCatName val="0"/>
              <c:showSerName val="0"/>
              <c:showPercent val="0"/>
              <c:showBubbleSize val="0"/>
            </c:dLbl>
            <c:dLbl>
              <c:idx val="10"/>
              <c:tx>
                <c:rich>
                  <a:bodyPr/>
                  <a:lstStyle/>
                  <a:p>
                    <a:r>
                      <a:t>16.43</a:t>
                    </a:r>
                  </a:p>
                </c:rich>
              </c:tx>
              <c:dLblPos val="t"/>
              <c:showLegendKey val="0"/>
              <c:showVal val="1"/>
              <c:showCatName val="0"/>
              <c:showSerName val="0"/>
              <c:showPercent val="0"/>
              <c:showBubbleSize val="0"/>
            </c:dLbl>
            <c:dLbl>
              <c:idx val="11"/>
              <c:tx>
                <c:rich>
                  <a:bodyPr/>
                  <a:lstStyle/>
                  <a:p>
                    <a:r>
                      <a:t>20.26</a:t>
                    </a:r>
                  </a:p>
                </c:rich>
              </c:tx>
              <c:dLblPos val="t"/>
              <c:showLegendKey val="0"/>
              <c:showVal val="1"/>
              <c:showCatName val="0"/>
              <c:showSerName val="0"/>
              <c:showPercent val="0"/>
              <c:showBubbleSize val="0"/>
            </c:dLbl>
            <c:dLbl>
              <c:idx val="12"/>
              <c:tx>
                <c:rich>
                  <a:bodyPr/>
                  <a:lstStyle/>
                  <a:p>
                    <a:r>
                      <a:t>7.73</a:t>
                    </a:r>
                  </a:p>
                </c:rich>
              </c:tx>
              <c:dLblPos val="t"/>
              <c:showLegendKey val="0"/>
              <c:showVal val="1"/>
              <c:showCatName val="0"/>
              <c:showSerName val="0"/>
              <c:showPercent val="0"/>
              <c:showBubbleSize val="0"/>
            </c:dLbl>
            <c:dLbl>
              <c:idx val="13"/>
              <c:tx>
                <c:rich>
                  <a:bodyPr/>
                  <a:lstStyle/>
                  <a:p>
                    <a:r>
                      <a:t>7.53</a:t>
                    </a:r>
                  </a:p>
                </c:rich>
              </c:tx>
              <c:dLblPos val="t"/>
              <c:showLegendKey val="0"/>
              <c:showVal val="1"/>
              <c:showCatName val="0"/>
              <c:showSerName val="0"/>
              <c:showPercent val="0"/>
              <c:showBubbleSize val="0"/>
            </c:dLbl>
            <c:dLbl>
              <c:idx val="14"/>
              <c:tx>
                <c:rich>
                  <a:bodyPr/>
                  <a:lstStyle/>
                  <a:p>
                    <a:r>
                      <a:t>12.96</a:t>
                    </a:r>
                  </a:p>
                </c:rich>
              </c:tx>
              <c:dLblPos val="t"/>
              <c:showLegendKey val="0"/>
              <c:showVal val="1"/>
              <c:showCatName val="0"/>
              <c:showSerName val="0"/>
              <c:showPercent val="0"/>
              <c:showBubbleSize val="0"/>
            </c:dLbl>
            <c:dLbl>
              <c:idx val="15"/>
              <c:tx>
                <c:rich>
                  <a:bodyPr/>
                  <a:lstStyle/>
                  <a:p>
                    <a:r>
                      <a:t>19.19</a:t>
                    </a:r>
                  </a:p>
                </c:rich>
              </c:tx>
              <c:dLblPos val="t"/>
              <c:showLegendKey val="0"/>
              <c:showVal val="1"/>
              <c:showCatName val="0"/>
              <c:showSerName val="0"/>
              <c:showPercent val="0"/>
              <c:showBubbleSize val="0"/>
            </c:dLbl>
            <c:dLbl>
              <c:idx val="16"/>
              <c:tx>
                <c:rich>
                  <a:bodyPr/>
                  <a:lstStyle/>
                  <a:p>
                    <a:r>
                      <a:t>16.99</a:t>
                    </a:r>
                  </a:p>
                </c:rich>
              </c:tx>
              <c:dLblPos val="t"/>
              <c:showLegendKey val="0"/>
              <c:showVal val="1"/>
              <c:showCatName val="0"/>
              <c:showSerName val="0"/>
              <c:showPercent val="0"/>
              <c:showBubbleSize val="0"/>
            </c:dLbl>
            <c:dLbl>
              <c:idx val="17"/>
              <c:tx>
                <c:rich>
                  <a:bodyPr/>
                  <a:lstStyle/>
                  <a:p>
                    <a:r>
                      <a:t>20.57</a:t>
                    </a:r>
                  </a:p>
                </c:rich>
              </c:tx>
              <c:dLblPos val="t"/>
              <c:showLegendKey val="0"/>
              <c:showVal val="1"/>
              <c:showCatName val="0"/>
              <c:showSerName val="0"/>
              <c:showPercent val="0"/>
              <c:showBubbleSize val="0"/>
            </c:dLbl>
            <c:dLbl>
              <c:idx val="18"/>
              <c:tx>
                <c:rich>
                  <a:bodyPr/>
                  <a:lstStyle/>
                  <a:p>
                    <a:r>
                      <a:t>19.70</a:t>
                    </a:r>
                  </a:p>
                </c:rich>
              </c:tx>
              <c:dLblPos val="t"/>
              <c:showLegendKey val="0"/>
              <c:showVal val="1"/>
              <c:showCatName val="0"/>
              <c:showSerName val="0"/>
              <c:showPercent val="0"/>
              <c:showBubbleSize val="0"/>
            </c:dLbl>
            <c:dLbl>
              <c:idx val="19"/>
              <c:tx>
                <c:rich>
                  <a:bodyPr/>
                  <a:lstStyle/>
                  <a:p>
                    <a:r>
                      <a:t>24.50</a:t>
                    </a:r>
                  </a:p>
                </c:rich>
              </c:tx>
              <c:dLblPos val="t"/>
              <c:showLegendKey val="0"/>
              <c:showVal val="1"/>
              <c:showCatName val="0"/>
              <c:showSerName val="0"/>
              <c:showPercent val="0"/>
              <c:showBubbleSize val="0"/>
            </c:dLbl>
            <c:dLbl>
              <c:idx val="20"/>
              <c:tx>
                <c:rich>
                  <a:bodyPr/>
                  <a:lstStyle/>
                  <a:p>
                    <a:r>
                      <a:t>28.54</a:t>
                    </a:r>
                  </a:p>
                </c:rich>
              </c:tx>
              <c:dLblPos val="t"/>
              <c:showLegendKey val="0"/>
              <c:showVal val="1"/>
              <c:showCatName val="0"/>
              <c:showSerName val="0"/>
              <c:showPercent val="0"/>
              <c:showBubbleSize val="0"/>
            </c:dLbl>
            <c:dLbl>
              <c:idx val="21"/>
              <c:tx>
                <c:rich>
                  <a:bodyPr/>
                  <a:lstStyle/>
                  <a:p>
                    <a:r>
                      <a:t>14.1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C$2:$C$23</c:f>
              <c:numCache>
                <c:formatCode>General</c:formatCode>
                <c:ptCount val="22"/>
                <c:pt idx="0">
                  <c:v>46.0</c:v>
                </c:pt>
                <c:pt idx="1">
                  <c:v>10.4901</c:v>
                </c:pt>
                <c:pt idx="2">
                  <c:v>12.5101</c:v>
                </c:pt>
                <c:pt idx="3">
                  <c:v>9.1002</c:v>
                </c:pt>
                <c:pt idx="4">
                  <c:v>12.7436</c:v>
                </c:pt>
                <c:pt idx="5">
                  <c:v>11.5665</c:v>
                </c:pt>
                <c:pt idx="6">
                  <c:v>11.7665</c:v>
                </c:pt>
                <c:pt idx="7">
                  <c:v>12.8956</c:v>
                </c:pt>
                <c:pt idx="8">
                  <c:v>12.8139</c:v>
                </c:pt>
                <c:pt idx="9">
                  <c:v>12.1598</c:v>
                </c:pt>
                <c:pt idx="10">
                  <c:v>16.4333</c:v>
                </c:pt>
                <c:pt idx="11">
                  <c:v>20.2602</c:v>
                </c:pt>
                <c:pt idx="12">
                  <c:v>7.7271</c:v>
                </c:pt>
                <c:pt idx="13">
                  <c:v>7.5289</c:v>
                </c:pt>
                <c:pt idx="14">
                  <c:v>12.9587</c:v>
                </c:pt>
                <c:pt idx="15">
                  <c:v>19.1903</c:v>
                </c:pt>
                <c:pt idx="16">
                  <c:v>16.9927</c:v>
                </c:pt>
                <c:pt idx="17">
                  <c:v>20.5653</c:v>
                </c:pt>
                <c:pt idx="18">
                  <c:v>19.6998</c:v>
                </c:pt>
                <c:pt idx="19">
                  <c:v>24.5028</c:v>
                </c:pt>
                <c:pt idx="20">
                  <c:v>28.5417</c:v>
                </c:pt>
                <c:pt idx="21">
                  <c:v>1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02</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8</a:t>
                    </a:r>
                  </a:p>
                </c:rich>
              </c:tx>
              <c:dLblPos val="ctr"/>
              <c:showLegendKey val="0"/>
              <c:showVal val="1"/>
              <c:showCatName val="0"/>
              <c:showSerName val="0"/>
              <c:showPercent val="0"/>
              <c:showBubbleSize val="0"/>
            </c:dLbl>
            <c:dLbl>
              <c:idx val="5"/>
              <c:tx>
                <c:rich>
                  <a:bodyPr/>
                  <a:lstStyle/>
                  <a:p>
                    <a:r>
                      <a:t>100</a:t>
                    </a:r>
                  </a:p>
                </c:rich>
              </c:tx>
              <c:dLblPos val="ctr"/>
              <c:showLegendKey val="0"/>
              <c:showVal val="1"/>
              <c:showCatName val="0"/>
              <c:showSerName val="0"/>
              <c:showPercent val="0"/>
              <c:showBubbleSize val="0"/>
            </c:dLbl>
            <c:dLbl>
              <c:idx val="6"/>
              <c:tx>
                <c:rich>
                  <a:bodyPr/>
                  <a:lstStyle/>
                  <a:p>
                    <a:r>
                      <a:t>118</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08</a:t>
                    </a:r>
                  </a:p>
                </c:rich>
              </c:tx>
              <c:dLblPos val="ctr"/>
              <c:showLegendKey val="0"/>
              <c:showVal val="1"/>
              <c:showCatName val="0"/>
              <c:showSerName val="0"/>
              <c:showPercent val="0"/>
              <c:showBubbleSize val="0"/>
            </c:dLbl>
            <c:dLbl>
              <c:idx val="9"/>
              <c:tx>
                <c:rich>
                  <a:bodyPr/>
                  <a:lstStyle/>
                  <a:p>
                    <a:r>
                      <a:t>115</a:t>
                    </a:r>
                  </a:p>
                </c:rich>
              </c:tx>
              <c:dLblPos val="ctr"/>
              <c:showLegendKey val="0"/>
              <c:showVal val="1"/>
              <c:showCatName val="0"/>
              <c:showSerName val="0"/>
              <c:showPercent val="0"/>
              <c:showBubbleSize val="0"/>
            </c:dLbl>
            <c:dLbl>
              <c:idx val="10"/>
              <c:tx>
                <c:rich>
                  <a:bodyPr/>
                  <a:lstStyle/>
                  <a:p>
                    <a:r>
                      <a:t>106</a:t>
                    </a:r>
                  </a:p>
                </c:rich>
              </c:tx>
              <c:dLblPos val="ctr"/>
              <c:showLegendKey val="0"/>
              <c:showVal val="1"/>
              <c:showCatName val="0"/>
              <c:showSerName val="0"/>
              <c:showPercent val="0"/>
              <c:showBubbleSize val="0"/>
            </c:dLbl>
            <c:dLbl>
              <c:idx val="11"/>
              <c:tx>
                <c:rich>
                  <a:bodyPr/>
                  <a:lstStyle/>
                  <a:p>
                    <a:r>
                      <a:t>112</a:t>
                    </a:r>
                  </a:p>
                </c:rich>
              </c:tx>
              <c:dLblPos val="ctr"/>
              <c:showLegendKey val="0"/>
              <c:showVal val="1"/>
              <c:showCatName val="0"/>
              <c:showSerName val="0"/>
              <c:showPercent val="0"/>
              <c:showBubbleSize val="0"/>
            </c:dLbl>
            <c:dLbl>
              <c:idx val="12"/>
              <c:tx>
                <c:rich>
                  <a:bodyPr/>
                  <a:lstStyle/>
                  <a:p>
                    <a:r>
                      <a:t>99</a:t>
                    </a:r>
                  </a:p>
                </c:rich>
              </c:tx>
              <c:dLblPos val="ctr"/>
              <c:showLegendKey val="0"/>
              <c:showVal val="1"/>
              <c:showCatName val="0"/>
              <c:showSerName val="0"/>
              <c:showPercent val="0"/>
              <c:showBubbleSize val="0"/>
            </c:dLbl>
            <c:dLbl>
              <c:idx val="13"/>
              <c:tx>
                <c:rich>
                  <a:bodyPr/>
                  <a:lstStyle/>
                  <a:p>
                    <a:r>
                      <a:t>104</a:t>
                    </a:r>
                  </a:p>
                </c:rich>
              </c:tx>
              <c:dLblPos val="ctr"/>
              <c:showLegendKey val="0"/>
              <c:showVal val="1"/>
              <c:showCatName val="0"/>
              <c:showSerName val="0"/>
              <c:showPercent val="0"/>
              <c:showBubbleSize val="0"/>
            </c:dLbl>
            <c:dLbl>
              <c:idx val="14"/>
              <c:tx>
                <c:rich>
                  <a:bodyPr/>
                  <a:lstStyle/>
                  <a:p>
                    <a:r>
                      <a:t>91</a:t>
                    </a:r>
                  </a:p>
                </c:rich>
              </c:tx>
              <c:dLblPos val="ctr"/>
              <c:showLegendKey val="0"/>
              <c:showVal val="1"/>
              <c:showCatName val="0"/>
              <c:showSerName val="0"/>
              <c:showPercent val="0"/>
              <c:showBubbleSize val="0"/>
            </c:dLbl>
            <c:dLbl>
              <c:idx val="15"/>
              <c:tx>
                <c:rich>
                  <a:bodyPr/>
                  <a:lstStyle/>
                  <a:p>
                    <a:r>
                      <a:t>108</a:t>
                    </a:r>
                  </a:p>
                </c:rich>
              </c:tx>
              <c:dLblPos val="ctr"/>
              <c:showLegendKey val="0"/>
              <c:showVal val="1"/>
              <c:showCatName val="0"/>
              <c:showSerName val="0"/>
              <c:showPercent val="0"/>
              <c:showBubbleSize val="0"/>
            </c:dLbl>
            <c:dLbl>
              <c:idx val="16"/>
              <c:tx>
                <c:rich>
                  <a:bodyPr/>
                  <a:lstStyle/>
                  <a:p>
                    <a:r>
                      <a:t>137</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dLbl>
              <c:idx val="21"/>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c:v>
                </c:pt>
                <c:pt idx="1">
                  <c:v>1.0186250579074414</c:v>
                </c:pt>
                <c:pt idx="2">
                  <c:v>1.343737056637641</c:v>
                </c:pt>
                <c:pt idx="3">
                  <c:v>1.0193409396644273</c:v>
                </c:pt>
                <c:pt idx="4">
                  <c:v>1.081791881336964</c:v>
                </c:pt>
                <c:pt idx="5">
                  <c:v>0.9981211003145369</c:v>
                </c:pt>
                <c:pt idx="6">
                  <c:v>1.1768257951543253</c:v>
                </c:pt>
                <c:pt idx="7">
                  <c:v>1.0296590453739278</c:v>
                </c:pt>
                <c:pt idx="8">
                  <c:v>1.0788033009484201</c:v>
                </c:pt>
                <c:pt idx="9">
                  <c:v>1.1537017203959814</c:v>
                </c:pt>
                <c:pt idx="10">
                  <c:v>1.0591193784469317</c:v>
                </c:pt>
                <c:pt idx="11">
                  <c:v>1.1184423662170084</c:v>
                </c:pt>
                <c:pt idx="12">
                  <c:v>0.9895265533636144</c:v>
                </c:pt>
                <c:pt idx="13">
                  <c:v>1.0387279828482863</c:v>
                </c:pt>
                <c:pt idx="14">
                  <c:v>0.914380875991333</c:v>
                </c:pt>
                <c:pt idx="15">
                  <c:v>1.078172554184166</c:v>
                </c:pt>
                <c:pt idx="16">
                  <c:v>1.370415266333516</c:v>
                </c:pt>
                <c:pt idx="17">
                  <c:v>0.0</c:v>
                </c:pt>
                <c:pt idx="18">
                  <c:v>0.0</c:v>
                </c:pt>
                <c:pt idx="19">
                  <c:v>0.0</c:v>
                </c:pt>
                <c:pt idx="20">
                  <c:v>0.0</c:v>
                </c:pt>
                <c:pt idx="21">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00138</c:v>
                </c:pt>
                <c:pt idx="1">
                  <c:v>59.464931</c:v>
                </c:pt>
                <c:pt idx="2">
                  <c:v>56.151853</c:v>
                </c:pt>
                <c:pt idx="3">
                  <c:v>41.46819</c:v>
                </c:pt>
                <c:pt idx="4">
                  <c:v>40.274229</c:v>
                </c:pt>
                <c:pt idx="5">
                  <c:v>27.87398</c:v>
                </c:pt>
                <c:pt idx="6">
                  <c:v>25.737106</c:v>
                </c:pt>
                <c:pt idx="7">
                  <c:v>25.477487</c:v>
                </c:pt>
                <c:pt idx="8">
                  <c:v>19.52622</c:v>
                </c:pt>
                <c:pt idx="9">
                  <c:v>19.120887</c:v>
                </c:pt>
                <c:pt idx="10">
                  <c:v>12.51123</c:v>
                </c:pt>
                <c:pt idx="11">
                  <c:v>10.017999</c:v>
                </c:pt>
                <c:pt idx="12">
                  <c:v>8.127698</c:v>
                </c:pt>
                <c:pt idx="13">
                  <c:v>5.679185</c:v>
                </c:pt>
                <c:pt idx="14">
                  <c:v>5.420683</c:v>
                </c:pt>
                <c:pt idx="15">
                  <c:v>5.37055</c:v>
                </c:pt>
                <c:pt idx="16">
                  <c:v>0.452211</c:v>
                </c:pt>
                <c:pt idx="17">
                  <c:v>0.185273</c:v>
                </c:pt>
                <c:pt idx="18">
                  <c:v>0.030515</c:v>
                </c:pt>
                <c:pt idx="19">
                  <c:v>0.004386</c:v>
                </c:pt>
                <c:pt idx="20">
                  <c:v>0.00137</c:v>
                </c:pt>
                <c:pt idx="21">
                  <c:v>0.00056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00</a:t>
                    </a:r>
                  </a:p>
                </c:rich>
              </c:tx>
              <c:dLblPos val="t"/>
              <c:showLegendKey val="0"/>
              <c:showVal val="1"/>
              <c:showCatName val="0"/>
              <c:showSerName val="0"/>
              <c:showPercent val="0"/>
              <c:showBubbleSize val="0"/>
            </c:dLbl>
            <c:dLbl>
              <c:idx val="1"/>
              <c:tx>
                <c:rich>
                  <a:bodyPr/>
                  <a:lstStyle/>
                  <a:p>
                    <a:r>
                      <a:t>10.49</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9.10</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7</a:t>
                    </a:r>
                  </a:p>
                </c:rich>
              </c:tx>
              <c:dLblPos val="t"/>
              <c:showLegendKey val="0"/>
              <c:showVal val="1"/>
              <c:showCatName val="0"/>
              <c:showSerName val="0"/>
              <c:showPercent val="0"/>
              <c:showBubbleSize val="0"/>
            </c:dLbl>
            <c:dLbl>
              <c:idx val="6"/>
              <c:tx>
                <c:rich>
                  <a:bodyPr/>
                  <a:lstStyle/>
                  <a:p>
                    <a:r>
                      <a:t>11.77</a:t>
                    </a:r>
                  </a:p>
                </c:rich>
              </c:tx>
              <c:dLblPos val="t"/>
              <c:showLegendKey val="0"/>
              <c:showVal val="1"/>
              <c:showCatName val="0"/>
              <c:showSerName val="0"/>
              <c:showPercent val="0"/>
              <c:showBubbleSize val="0"/>
            </c:dLbl>
            <c:dLbl>
              <c:idx val="7"/>
              <c:tx>
                <c:rich>
                  <a:bodyPr/>
                  <a:lstStyle/>
                  <a:p>
                    <a:r>
                      <a:t>12.90</a:t>
                    </a:r>
                  </a:p>
                </c:rich>
              </c:tx>
              <c:dLblPos val="t"/>
              <c:showLegendKey val="0"/>
              <c:showVal val="1"/>
              <c:showCatName val="0"/>
              <c:showSerName val="0"/>
              <c:showPercent val="0"/>
              <c:showBubbleSize val="0"/>
            </c:dLbl>
            <c:dLbl>
              <c:idx val="8"/>
              <c:tx>
                <c:rich>
                  <a:bodyPr/>
                  <a:lstStyle/>
                  <a:p>
                    <a:r>
                      <a:t>12.81</a:t>
                    </a:r>
                  </a:p>
                </c:rich>
              </c:tx>
              <c:dLblPos val="t"/>
              <c:showLegendKey val="0"/>
              <c:showVal val="1"/>
              <c:showCatName val="0"/>
              <c:showSerName val="0"/>
              <c:showPercent val="0"/>
              <c:showBubbleSize val="0"/>
            </c:dLbl>
            <c:dLbl>
              <c:idx val="9"/>
              <c:tx>
                <c:rich>
                  <a:bodyPr/>
                  <a:lstStyle/>
                  <a:p>
                    <a:r>
                      <a:t>12.16</a:t>
                    </a:r>
                  </a:p>
                </c:rich>
              </c:tx>
              <c:dLblPos val="t"/>
              <c:showLegendKey val="0"/>
              <c:showVal val="1"/>
              <c:showCatName val="0"/>
              <c:showSerName val="0"/>
              <c:showPercent val="0"/>
              <c:showBubbleSize val="0"/>
            </c:dLbl>
            <c:dLbl>
              <c:idx val="10"/>
              <c:tx>
                <c:rich>
                  <a:bodyPr/>
                  <a:lstStyle/>
                  <a:p>
                    <a:r>
                      <a:t>16.43</a:t>
                    </a:r>
                  </a:p>
                </c:rich>
              </c:tx>
              <c:dLblPos val="t"/>
              <c:showLegendKey val="0"/>
              <c:showVal val="1"/>
              <c:showCatName val="0"/>
              <c:showSerName val="0"/>
              <c:showPercent val="0"/>
              <c:showBubbleSize val="0"/>
            </c:dLbl>
            <c:dLbl>
              <c:idx val="11"/>
              <c:tx>
                <c:rich>
                  <a:bodyPr/>
                  <a:lstStyle/>
                  <a:p>
                    <a:r>
                      <a:t>20.26</a:t>
                    </a:r>
                  </a:p>
                </c:rich>
              </c:tx>
              <c:dLblPos val="t"/>
              <c:showLegendKey val="0"/>
              <c:showVal val="1"/>
              <c:showCatName val="0"/>
              <c:showSerName val="0"/>
              <c:showPercent val="0"/>
              <c:showBubbleSize val="0"/>
            </c:dLbl>
            <c:dLbl>
              <c:idx val="12"/>
              <c:tx>
                <c:rich>
                  <a:bodyPr/>
                  <a:lstStyle/>
                  <a:p>
                    <a:r>
                      <a:t>7.73</a:t>
                    </a:r>
                  </a:p>
                </c:rich>
              </c:tx>
              <c:dLblPos val="t"/>
              <c:showLegendKey val="0"/>
              <c:showVal val="1"/>
              <c:showCatName val="0"/>
              <c:showSerName val="0"/>
              <c:showPercent val="0"/>
              <c:showBubbleSize val="0"/>
            </c:dLbl>
            <c:dLbl>
              <c:idx val="13"/>
              <c:tx>
                <c:rich>
                  <a:bodyPr/>
                  <a:lstStyle/>
                  <a:p>
                    <a:r>
                      <a:t>7.53</a:t>
                    </a:r>
                  </a:p>
                </c:rich>
              </c:tx>
              <c:dLblPos val="t"/>
              <c:showLegendKey val="0"/>
              <c:showVal val="1"/>
              <c:showCatName val="0"/>
              <c:showSerName val="0"/>
              <c:showPercent val="0"/>
              <c:showBubbleSize val="0"/>
            </c:dLbl>
            <c:dLbl>
              <c:idx val="14"/>
              <c:tx>
                <c:rich>
                  <a:bodyPr/>
                  <a:lstStyle/>
                  <a:p>
                    <a:r>
                      <a:t>12.96</a:t>
                    </a:r>
                  </a:p>
                </c:rich>
              </c:tx>
              <c:dLblPos val="t"/>
              <c:showLegendKey val="0"/>
              <c:showVal val="1"/>
              <c:showCatName val="0"/>
              <c:showSerName val="0"/>
              <c:showPercent val="0"/>
              <c:showBubbleSize val="0"/>
            </c:dLbl>
            <c:dLbl>
              <c:idx val="15"/>
              <c:tx>
                <c:rich>
                  <a:bodyPr/>
                  <a:lstStyle/>
                  <a:p>
                    <a:r>
                      <a:t>19.19</a:t>
                    </a:r>
                  </a:p>
                </c:rich>
              </c:tx>
              <c:dLblPos val="t"/>
              <c:showLegendKey val="0"/>
              <c:showVal val="1"/>
              <c:showCatName val="0"/>
              <c:showSerName val="0"/>
              <c:showPercent val="0"/>
              <c:showBubbleSize val="0"/>
            </c:dLbl>
            <c:dLbl>
              <c:idx val="16"/>
              <c:tx>
                <c:rich>
                  <a:bodyPr/>
                  <a:lstStyle/>
                  <a:p>
                    <a:r>
                      <a:t>16.99</a:t>
                    </a:r>
                  </a:p>
                </c:rich>
              </c:tx>
              <c:dLblPos val="t"/>
              <c:showLegendKey val="0"/>
              <c:showVal val="1"/>
              <c:showCatName val="0"/>
              <c:showSerName val="0"/>
              <c:showPercent val="0"/>
              <c:showBubbleSize val="0"/>
            </c:dLbl>
            <c:dLbl>
              <c:idx val="17"/>
              <c:tx>
                <c:rich>
                  <a:bodyPr/>
                  <a:lstStyle/>
                  <a:p>
                    <a:r>
                      <a:t>20.57</a:t>
                    </a:r>
                  </a:p>
                </c:rich>
              </c:tx>
              <c:dLblPos val="t"/>
              <c:showLegendKey val="0"/>
              <c:showVal val="1"/>
              <c:showCatName val="0"/>
              <c:showSerName val="0"/>
              <c:showPercent val="0"/>
              <c:showBubbleSize val="0"/>
            </c:dLbl>
            <c:dLbl>
              <c:idx val="18"/>
              <c:tx>
                <c:rich>
                  <a:bodyPr/>
                  <a:lstStyle/>
                  <a:p>
                    <a:r>
                      <a:t>19.70</a:t>
                    </a:r>
                  </a:p>
                </c:rich>
              </c:tx>
              <c:dLblPos val="t"/>
              <c:showLegendKey val="0"/>
              <c:showVal val="1"/>
              <c:showCatName val="0"/>
              <c:showSerName val="0"/>
              <c:showPercent val="0"/>
              <c:showBubbleSize val="0"/>
            </c:dLbl>
            <c:dLbl>
              <c:idx val="19"/>
              <c:tx>
                <c:rich>
                  <a:bodyPr/>
                  <a:lstStyle/>
                  <a:p>
                    <a:r>
                      <a:t>24.50</a:t>
                    </a:r>
                  </a:p>
                </c:rich>
              </c:tx>
              <c:dLblPos val="t"/>
              <c:showLegendKey val="0"/>
              <c:showVal val="1"/>
              <c:showCatName val="0"/>
              <c:showSerName val="0"/>
              <c:showPercent val="0"/>
              <c:showBubbleSize val="0"/>
            </c:dLbl>
            <c:dLbl>
              <c:idx val="20"/>
              <c:tx>
                <c:rich>
                  <a:bodyPr/>
                  <a:lstStyle/>
                  <a:p>
                    <a:r>
                      <a:t>28.54</a:t>
                    </a:r>
                  </a:p>
                </c:rich>
              </c:tx>
              <c:dLblPos val="t"/>
              <c:showLegendKey val="0"/>
              <c:showVal val="1"/>
              <c:showCatName val="0"/>
              <c:showSerName val="0"/>
              <c:showPercent val="0"/>
              <c:showBubbleSize val="0"/>
            </c:dLbl>
            <c:dLbl>
              <c:idx val="21"/>
              <c:tx>
                <c:rich>
                  <a:bodyPr/>
                  <a:lstStyle/>
                  <a:p>
                    <a:r>
                      <a:t>14.1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C$2:$C$23</c:f>
              <c:numCache>
                <c:formatCode>General</c:formatCode>
                <c:ptCount val="22"/>
                <c:pt idx="0">
                  <c:v>46.0</c:v>
                </c:pt>
                <c:pt idx="1">
                  <c:v>10.4901</c:v>
                </c:pt>
                <c:pt idx="2">
                  <c:v>12.5101</c:v>
                </c:pt>
                <c:pt idx="3">
                  <c:v>9.1002</c:v>
                </c:pt>
                <c:pt idx="4">
                  <c:v>12.7436</c:v>
                </c:pt>
                <c:pt idx="5">
                  <c:v>11.5665</c:v>
                </c:pt>
                <c:pt idx="6">
                  <c:v>11.7665</c:v>
                </c:pt>
                <c:pt idx="7">
                  <c:v>12.8956</c:v>
                </c:pt>
                <c:pt idx="8">
                  <c:v>12.8139</c:v>
                </c:pt>
                <c:pt idx="9">
                  <c:v>12.1598</c:v>
                </c:pt>
                <c:pt idx="10">
                  <c:v>16.4333</c:v>
                </c:pt>
                <c:pt idx="11">
                  <c:v>20.2602</c:v>
                </c:pt>
                <c:pt idx="12">
                  <c:v>7.7271</c:v>
                </c:pt>
                <c:pt idx="13">
                  <c:v>7.5289</c:v>
                </c:pt>
                <c:pt idx="14">
                  <c:v>12.9587</c:v>
                </c:pt>
                <c:pt idx="15">
                  <c:v>19.1903</c:v>
                </c:pt>
                <c:pt idx="16">
                  <c:v>16.9927</c:v>
                </c:pt>
                <c:pt idx="17">
                  <c:v>20.5653</c:v>
                </c:pt>
                <c:pt idx="18">
                  <c:v>19.6998</c:v>
                </c:pt>
                <c:pt idx="19">
                  <c:v>24.5028</c:v>
                </c:pt>
                <c:pt idx="20">
                  <c:v>28.5417</c:v>
                </c:pt>
                <c:pt idx="21">
                  <c:v>1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02</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8</a:t>
                    </a:r>
                  </a:p>
                </c:rich>
              </c:tx>
              <c:dLblPos val="ctr"/>
              <c:showLegendKey val="0"/>
              <c:showVal val="1"/>
              <c:showCatName val="0"/>
              <c:showSerName val="0"/>
              <c:showPercent val="0"/>
              <c:showBubbleSize val="0"/>
            </c:dLbl>
            <c:dLbl>
              <c:idx val="5"/>
              <c:tx>
                <c:rich>
                  <a:bodyPr/>
                  <a:lstStyle/>
                  <a:p>
                    <a:r>
                      <a:t>100</a:t>
                    </a:r>
                  </a:p>
                </c:rich>
              </c:tx>
              <c:dLblPos val="ctr"/>
              <c:showLegendKey val="0"/>
              <c:showVal val="1"/>
              <c:showCatName val="0"/>
              <c:showSerName val="0"/>
              <c:showPercent val="0"/>
              <c:showBubbleSize val="0"/>
            </c:dLbl>
            <c:dLbl>
              <c:idx val="6"/>
              <c:tx>
                <c:rich>
                  <a:bodyPr/>
                  <a:lstStyle/>
                  <a:p>
                    <a:r>
                      <a:t>118</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08</a:t>
                    </a:r>
                  </a:p>
                </c:rich>
              </c:tx>
              <c:dLblPos val="ctr"/>
              <c:showLegendKey val="0"/>
              <c:showVal val="1"/>
              <c:showCatName val="0"/>
              <c:showSerName val="0"/>
              <c:showPercent val="0"/>
              <c:showBubbleSize val="0"/>
            </c:dLbl>
            <c:dLbl>
              <c:idx val="9"/>
              <c:tx>
                <c:rich>
                  <a:bodyPr/>
                  <a:lstStyle/>
                  <a:p>
                    <a:r>
                      <a:t>115</a:t>
                    </a:r>
                  </a:p>
                </c:rich>
              </c:tx>
              <c:dLblPos val="ctr"/>
              <c:showLegendKey val="0"/>
              <c:showVal val="1"/>
              <c:showCatName val="0"/>
              <c:showSerName val="0"/>
              <c:showPercent val="0"/>
              <c:showBubbleSize val="0"/>
            </c:dLbl>
            <c:dLbl>
              <c:idx val="10"/>
              <c:tx>
                <c:rich>
                  <a:bodyPr/>
                  <a:lstStyle/>
                  <a:p>
                    <a:r>
                      <a:t>106</a:t>
                    </a:r>
                  </a:p>
                </c:rich>
              </c:tx>
              <c:dLblPos val="ctr"/>
              <c:showLegendKey val="0"/>
              <c:showVal val="1"/>
              <c:showCatName val="0"/>
              <c:showSerName val="0"/>
              <c:showPercent val="0"/>
              <c:showBubbleSize val="0"/>
            </c:dLbl>
            <c:dLbl>
              <c:idx val="11"/>
              <c:tx>
                <c:rich>
                  <a:bodyPr/>
                  <a:lstStyle/>
                  <a:p>
                    <a:r>
                      <a:t>112</a:t>
                    </a:r>
                  </a:p>
                </c:rich>
              </c:tx>
              <c:dLblPos val="ctr"/>
              <c:showLegendKey val="0"/>
              <c:showVal val="1"/>
              <c:showCatName val="0"/>
              <c:showSerName val="0"/>
              <c:showPercent val="0"/>
              <c:showBubbleSize val="0"/>
            </c:dLbl>
            <c:dLbl>
              <c:idx val="12"/>
              <c:tx>
                <c:rich>
                  <a:bodyPr/>
                  <a:lstStyle/>
                  <a:p>
                    <a:r>
                      <a:t>99</a:t>
                    </a:r>
                  </a:p>
                </c:rich>
              </c:tx>
              <c:dLblPos val="ctr"/>
              <c:showLegendKey val="0"/>
              <c:showVal val="1"/>
              <c:showCatName val="0"/>
              <c:showSerName val="0"/>
              <c:showPercent val="0"/>
              <c:showBubbleSize val="0"/>
            </c:dLbl>
            <c:dLbl>
              <c:idx val="13"/>
              <c:tx>
                <c:rich>
                  <a:bodyPr/>
                  <a:lstStyle/>
                  <a:p>
                    <a:r>
                      <a:t>104</a:t>
                    </a:r>
                  </a:p>
                </c:rich>
              </c:tx>
              <c:dLblPos val="ctr"/>
              <c:showLegendKey val="0"/>
              <c:showVal val="1"/>
              <c:showCatName val="0"/>
              <c:showSerName val="0"/>
              <c:showPercent val="0"/>
              <c:showBubbleSize val="0"/>
            </c:dLbl>
            <c:dLbl>
              <c:idx val="14"/>
              <c:tx>
                <c:rich>
                  <a:bodyPr/>
                  <a:lstStyle/>
                  <a:p>
                    <a:r>
                      <a:t>91</a:t>
                    </a:r>
                  </a:p>
                </c:rich>
              </c:tx>
              <c:dLblPos val="ctr"/>
              <c:showLegendKey val="0"/>
              <c:showVal val="1"/>
              <c:showCatName val="0"/>
              <c:showSerName val="0"/>
              <c:showPercent val="0"/>
              <c:showBubbleSize val="0"/>
            </c:dLbl>
            <c:dLbl>
              <c:idx val="15"/>
              <c:tx>
                <c:rich>
                  <a:bodyPr/>
                  <a:lstStyle/>
                  <a:p>
                    <a:r>
                      <a:t>108</a:t>
                    </a:r>
                  </a:p>
                </c:rich>
              </c:tx>
              <c:dLblPos val="ctr"/>
              <c:showLegendKey val="0"/>
              <c:showVal val="1"/>
              <c:showCatName val="0"/>
              <c:showSerName val="0"/>
              <c:showPercent val="0"/>
              <c:showBubbleSize val="0"/>
            </c:dLbl>
            <c:dLbl>
              <c:idx val="16"/>
              <c:tx>
                <c:rich>
                  <a:bodyPr/>
                  <a:lstStyle/>
                  <a:p>
                    <a:r>
                      <a:t>137</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dLbl>
              <c:idx val="21"/>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c:v>
                </c:pt>
                <c:pt idx="1">
                  <c:v>1.0186250579074414</c:v>
                </c:pt>
                <c:pt idx="2">
                  <c:v>1.343737056637641</c:v>
                </c:pt>
                <c:pt idx="3">
                  <c:v>1.0193409396644273</c:v>
                </c:pt>
                <c:pt idx="4">
                  <c:v>1.081791881336964</c:v>
                </c:pt>
                <c:pt idx="5">
                  <c:v>0.9981211003145369</c:v>
                </c:pt>
                <c:pt idx="6">
                  <c:v>1.1768257951543253</c:v>
                </c:pt>
                <c:pt idx="7">
                  <c:v>1.0296590453739278</c:v>
                </c:pt>
                <c:pt idx="8">
                  <c:v>1.0788033009484201</c:v>
                </c:pt>
                <c:pt idx="9">
                  <c:v>1.1537017203959814</c:v>
                </c:pt>
                <c:pt idx="10">
                  <c:v>1.0591193784469317</c:v>
                </c:pt>
                <c:pt idx="11">
                  <c:v>1.1184423662170084</c:v>
                </c:pt>
                <c:pt idx="12">
                  <c:v>0.9895265533636144</c:v>
                </c:pt>
                <c:pt idx="13">
                  <c:v>1.0387279828482863</c:v>
                </c:pt>
                <c:pt idx="14">
                  <c:v>0.914380875991333</c:v>
                </c:pt>
                <c:pt idx="15">
                  <c:v>1.078172554184166</c:v>
                </c:pt>
                <c:pt idx="16">
                  <c:v>1.370415266333516</c:v>
                </c:pt>
                <c:pt idx="17">
                  <c:v>0.0</c:v>
                </c:pt>
                <c:pt idx="18">
                  <c:v>0.0</c:v>
                </c:pt>
                <c:pt idx="19">
                  <c:v>0.0</c:v>
                </c:pt>
                <c:pt idx="20">
                  <c:v>0.0</c:v>
                </c:pt>
                <c:pt idx="21">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00138</c:v>
                </c:pt>
                <c:pt idx="1">
                  <c:v>59.464931</c:v>
                </c:pt>
                <c:pt idx="2">
                  <c:v>56.151853</c:v>
                </c:pt>
                <c:pt idx="3">
                  <c:v>41.46819</c:v>
                </c:pt>
                <c:pt idx="4">
                  <c:v>40.274229</c:v>
                </c:pt>
                <c:pt idx="5">
                  <c:v>27.87398</c:v>
                </c:pt>
                <c:pt idx="6">
                  <c:v>25.737106</c:v>
                </c:pt>
                <c:pt idx="7">
                  <c:v>25.477487</c:v>
                </c:pt>
                <c:pt idx="8">
                  <c:v>19.52622</c:v>
                </c:pt>
                <c:pt idx="9">
                  <c:v>19.120887</c:v>
                </c:pt>
                <c:pt idx="10">
                  <c:v>12.51123</c:v>
                </c:pt>
                <c:pt idx="11">
                  <c:v>10.017999</c:v>
                </c:pt>
                <c:pt idx="12">
                  <c:v>8.127698</c:v>
                </c:pt>
                <c:pt idx="13">
                  <c:v>5.679185</c:v>
                </c:pt>
                <c:pt idx="14">
                  <c:v>5.420683</c:v>
                </c:pt>
                <c:pt idx="15">
                  <c:v>5.37055</c:v>
                </c:pt>
                <c:pt idx="16">
                  <c:v>0.452211</c:v>
                </c:pt>
                <c:pt idx="17">
                  <c:v>0.185273</c:v>
                </c:pt>
                <c:pt idx="18">
                  <c:v>0.030515</c:v>
                </c:pt>
                <c:pt idx="19">
                  <c:v>0.004386</c:v>
                </c:pt>
                <c:pt idx="20">
                  <c:v>0.00137</c:v>
                </c:pt>
                <c:pt idx="21">
                  <c:v>0.00056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00</a:t>
                    </a:r>
                  </a:p>
                </c:rich>
              </c:tx>
              <c:dLblPos val="t"/>
              <c:showLegendKey val="0"/>
              <c:showVal val="1"/>
              <c:showCatName val="0"/>
              <c:showSerName val="0"/>
              <c:showPercent val="0"/>
              <c:showBubbleSize val="0"/>
            </c:dLbl>
            <c:dLbl>
              <c:idx val="1"/>
              <c:tx>
                <c:rich>
                  <a:bodyPr/>
                  <a:lstStyle/>
                  <a:p>
                    <a:r>
                      <a:t>10.49</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9.10</a:t>
                    </a:r>
                  </a:p>
                </c:rich>
              </c:tx>
              <c:dLblPos val="t"/>
              <c:showLegendKey val="0"/>
              <c:showVal val="1"/>
              <c:showCatName val="0"/>
              <c:showSerName val="0"/>
              <c:showPercent val="0"/>
              <c:showBubbleSize val="0"/>
            </c:dLbl>
            <c:dLbl>
              <c:idx val="4"/>
              <c:tx>
                <c:rich>
                  <a:bodyPr/>
                  <a:lstStyle/>
                  <a:p>
                    <a:r>
                      <a:t>12.74</a:t>
                    </a:r>
                  </a:p>
                </c:rich>
              </c:tx>
              <c:dLblPos val="t"/>
              <c:showLegendKey val="0"/>
              <c:showVal val="1"/>
              <c:showCatName val="0"/>
              <c:showSerName val="0"/>
              <c:showPercent val="0"/>
              <c:showBubbleSize val="0"/>
            </c:dLbl>
            <c:dLbl>
              <c:idx val="5"/>
              <c:tx>
                <c:rich>
                  <a:bodyPr/>
                  <a:lstStyle/>
                  <a:p>
                    <a:r>
                      <a:t>11.57</a:t>
                    </a:r>
                  </a:p>
                </c:rich>
              </c:tx>
              <c:dLblPos val="t"/>
              <c:showLegendKey val="0"/>
              <c:showVal val="1"/>
              <c:showCatName val="0"/>
              <c:showSerName val="0"/>
              <c:showPercent val="0"/>
              <c:showBubbleSize val="0"/>
            </c:dLbl>
            <c:dLbl>
              <c:idx val="6"/>
              <c:tx>
                <c:rich>
                  <a:bodyPr/>
                  <a:lstStyle/>
                  <a:p>
                    <a:r>
                      <a:t>11.77</a:t>
                    </a:r>
                  </a:p>
                </c:rich>
              </c:tx>
              <c:dLblPos val="t"/>
              <c:showLegendKey val="0"/>
              <c:showVal val="1"/>
              <c:showCatName val="0"/>
              <c:showSerName val="0"/>
              <c:showPercent val="0"/>
              <c:showBubbleSize val="0"/>
            </c:dLbl>
            <c:dLbl>
              <c:idx val="7"/>
              <c:tx>
                <c:rich>
                  <a:bodyPr/>
                  <a:lstStyle/>
                  <a:p>
                    <a:r>
                      <a:t>12.90</a:t>
                    </a:r>
                  </a:p>
                </c:rich>
              </c:tx>
              <c:dLblPos val="t"/>
              <c:showLegendKey val="0"/>
              <c:showVal val="1"/>
              <c:showCatName val="0"/>
              <c:showSerName val="0"/>
              <c:showPercent val="0"/>
              <c:showBubbleSize val="0"/>
            </c:dLbl>
            <c:dLbl>
              <c:idx val="8"/>
              <c:tx>
                <c:rich>
                  <a:bodyPr/>
                  <a:lstStyle/>
                  <a:p>
                    <a:r>
                      <a:t>12.81</a:t>
                    </a:r>
                  </a:p>
                </c:rich>
              </c:tx>
              <c:dLblPos val="t"/>
              <c:showLegendKey val="0"/>
              <c:showVal val="1"/>
              <c:showCatName val="0"/>
              <c:showSerName val="0"/>
              <c:showPercent val="0"/>
              <c:showBubbleSize val="0"/>
            </c:dLbl>
            <c:dLbl>
              <c:idx val="9"/>
              <c:tx>
                <c:rich>
                  <a:bodyPr/>
                  <a:lstStyle/>
                  <a:p>
                    <a:r>
                      <a:t>12.16</a:t>
                    </a:r>
                  </a:p>
                </c:rich>
              </c:tx>
              <c:dLblPos val="t"/>
              <c:showLegendKey val="0"/>
              <c:showVal val="1"/>
              <c:showCatName val="0"/>
              <c:showSerName val="0"/>
              <c:showPercent val="0"/>
              <c:showBubbleSize val="0"/>
            </c:dLbl>
            <c:dLbl>
              <c:idx val="10"/>
              <c:tx>
                <c:rich>
                  <a:bodyPr/>
                  <a:lstStyle/>
                  <a:p>
                    <a:r>
                      <a:t>16.43</a:t>
                    </a:r>
                  </a:p>
                </c:rich>
              </c:tx>
              <c:dLblPos val="t"/>
              <c:showLegendKey val="0"/>
              <c:showVal val="1"/>
              <c:showCatName val="0"/>
              <c:showSerName val="0"/>
              <c:showPercent val="0"/>
              <c:showBubbleSize val="0"/>
            </c:dLbl>
            <c:dLbl>
              <c:idx val="11"/>
              <c:tx>
                <c:rich>
                  <a:bodyPr/>
                  <a:lstStyle/>
                  <a:p>
                    <a:r>
                      <a:t>20.26</a:t>
                    </a:r>
                  </a:p>
                </c:rich>
              </c:tx>
              <c:dLblPos val="t"/>
              <c:showLegendKey val="0"/>
              <c:showVal val="1"/>
              <c:showCatName val="0"/>
              <c:showSerName val="0"/>
              <c:showPercent val="0"/>
              <c:showBubbleSize val="0"/>
            </c:dLbl>
            <c:dLbl>
              <c:idx val="12"/>
              <c:tx>
                <c:rich>
                  <a:bodyPr/>
                  <a:lstStyle/>
                  <a:p>
                    <a:r>
                      <a:t>7.73</a:t>
                    </a:r>
                  </a:p>
                </c:rich>
              </c:tx>
              <c:dLblPos val="t"/>
              <c:showLegendKey val="0"/>
              <c:showVal val="1"/>
              <c:showCatName val="0"/>
              <c:showSerName val="0"/>
              <c:showPercent val="0"/>
              <c:showBubbleSize val="0"/>
            </c:dLbl>
            <c:dLbl>
              <c:idx val="13"/>
              <c:tx>
                <c:rich>
                  <a:bodyPr/>
                  <a:lstStyle/>
                  <a:p>
                    <a:r>
                      <a:t>7.53</a:t>
                    </a:r>
                  </a:p>
                </c:rich>
              </c:tx>
              <c:dLblPos val="t"/>
              <c:showLegendKey val="0"/>
              <c:showVal val="1"/>
              <c:showCatName val="0"/>
              <c:showSerName val="0"/>
              <c:showPercent val="0"/>
              <c:showBubbleSize val="0"/>
            </c:dLbl>
            <c:dLbl>
              <c:idx val="14"/>
              <c:tx>
                <c:rich>
                  <a:bodyPr/>
                  <a:lstStyle/>
                  <a:p>
                    <a:r>
                      <a:t>12.96</a:t>
                    </a:r>
                  </a:p>
                </c:rich>
              </c:tx>
              <c:dLblPos val="t"/>
              <c:showLegendKey val="0"/>
              <c:showVal val="1"/>
              <c:showCatName val="0"/>
              <c:showSerName val="0"/>
              <c:showPercent val="0"/>
              <c:showBubbleSize val="0"/>
            </c:dLbl>
            <c:dLbl>
              <c:idx val="15"/>
              <c:tx>
                <c:rich>
                  <a:bodyPr/>
                  <a:lstStyle/>
                  <a:p>
                    <a:r>
                      <a:t>19.19</a:t>
                    </a:r>
                  </a:p>
                </c:rich>
              </c:tx>
              <c:dLblPos val="t"/>
              <c:showLegendKey val="0"/>
              <c:showVal val="1"/>
              <c:showCatName val="0"/>
              <c:showSerName val="0"/>
              <c:showPercent val="0"/>
              <c:showBubbleSize val="0"/>
            </c:dLbl>
            <c:dLbl>
              <c:idx val="16"/>
              <c:tx>
                <c:rich>
                  <a:bodyPr/>
                  <a:lstStyle/>
                  <a:p>
                    <a:r>
                      <a:t>16.99</a:t>
                    </a:r>
                  </a:p>
                </c:rich>
              </c:tx>
              <c:dLblPos val="t"/>
              <c:showLegendKey val="0"/>
              <c:showVal val="1"/>
              <c:showCatName val="0"/>
              <c:showSerName val="0"/>
              <c:showPercent val="0"/>
              <c:showBubbleSize val="0"/>
            </c:dLbl>
            <c:dLbl>
              <c:idx val="17"/>
              <c:tx>
                <c:rich>
                  <a:bodyPr/>
                  <a:lstStyle/>
                  <a:p>
                    <a:r>
                      <a:t>20.57</a:t>
                    </a:r>
                  </a:p>
                </c:rich>
              </c:tx>
              <c:dLblPos val="t"/>
              <c:showLegendKey val="0"/>
              <c:showVal val="1"/>
              <c:showCatName val="0"/>
              <c:showSerName val="0"/>
              <c:showPercent val="0"/>
              <c:showBubbleSize val="0"/>
            </c:dLbl>
            <c:dLbl>
              <c:idx val="18"/>
              <c:tx>
                <c:rich>
                  <a:bodyPr/>
                  <a:lstStyle/>
                  <a:p>
                    <a:r>
                      <a:t>19.70</a:t>
                    </a:r>
                  </a:p>
                </c:rich>
              </c:tx>
              <c:dLblPos val="t"/>
              <c:showLegendKey val="0"/>
              <c:showVal val="1"/>
              <c:showCatName val="0"/>
              <c:showSerName val="0"/>
              <c:showPercent val="0"/>
              <c:showBubbleSize val="0"/>
            </c:dLbl>
            <c:dLbl>
              <c:idx val="19"/>
              <c:tx>
                <c:rich>
                  <a:bodyPr/>
                  <a:lstStyle/>
                  <a:p>
                    <a:r>
                      <a:t>24.50</a:t>
                    </a:r>
                  </a:p>
                </c:rich>
              </c:tx>
              <c:dLblPos val="t"/>
              <c:showLegendKey val="0"/>
              <c:showVal val="1"/>
              <c:showCatName val="0"/>
              <c:showSerName val="0"/>
              <c:showPercent val="0"/>
              <c:showBubbleSize val="0"/>
            </c:dLbl>
            <c:dLbl>
              <c:idx val="20"/>
              <c:tx>
                <c:rich>
                  <a:bodyPr/>
                  <a:lstStyle/>
                  <a:p>
                    <a:r>
                      <a:t>28.54</a:t>
                    </a:r>
                  </a:p>
                </c:rich>
              </c:tx>
              <c:dLblPos val="t"/>
              <c:showLegendKey val="0"/>
              <c:showVal val="1"/>
              <c:showCatName val="0"/>
              <c:showSerName val="0"/>
              <c:showPercent val="0"/>
              <c:showBubbleSize val="0"/>
            </c:dLbl>
            <c:dLbl>
              <c:idx val="21"/>
              <c:tx>
                <c:rich>
                  <a:bodyPr/>
                  <a:lstStyle/>
                  <a:p>
                    <a:r>
                      <a:t>14.10</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C$2:$C$23</c:f>
              <c:numCache>
                <c:formatCode>General</c:formatCode>
                <c:ptCount val="22"/>
                <c:pt idx="0">
                  <c:v>46.0</c:v>
                </c:pt>
                <c:pt idx="1">
                  <c:v>10.4901</c:v>
                </c:pt>
                <c:pt idx="2">
                  <c:v>12.5101</c:v>
                </c:pt>
                <c:pt idx="3">
                  <c:v>9.1002</c:v>
                </c:pt>
                <c:pt idx="4">
                  <c:v>12.7436</c:v>
                </c:pt>
                <c:pt idx="5">
                  <c:v>11.5665</c:v>
                </c:pt>
                <c:pt idx="6">
                  <c:v>11.7665</c:v>
                </c:pt>
                <c:pt idx="7">
                  <c:v>12.8956</c:v>
                </c:pt>
                <c:pt idx="8">
                  <c:v>12.8139</c:v>
                </c:pt>
                <c:pt idx="9">
                  <c:v>12.1598</c:v>
                </c:pt>
                <c:pt idx="10">
                  <c:v>16.4333</c:v>
                </c:pt>
                <c:pt idx="11">
                  <c:v>20.2602</c:v>
                </c:pt>
                <c:pt idx="12">
                  <c:v>7.7271</c:v>
                </c:pt>
                <c:pt idx="13">
                  <c:v>7.5289</c:v>
                </c:pt>
                <c:pt idx="14">
                  <c:v>12.9587</c:v>
                </c:pt>
                <c:pt idx="15">
                  <c:v>19.1903</c:v>
                </c:pt>
                <c:pt idx="16">
                  <c:v>16.9927</c:v>
                </c:pt>
                <c:pt idx="17">
                  <c:v>20.5653</c:v>
                </c:pt>
                <c:pt idx="18">
                  <c:v>19.6998</c:v>
                </c:pt>
                <c:pt idx="19">
                  <c:v>24.5028</c:v>
                </c:pt>
                <c:pt idx="20">
                  <c:v>28.5417</c:v>
                </c:pt>
                <c:pt idx="21">
                  <c:v>14.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4.7</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71271</c:v>
                </c:pt>
                <c:pt idx="1">
                  <c:v>15.809905</c:v>
                </c:pt>
                <c:pt idx="2">
                  <c:v>9.366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13.6</a:t>
                    </a:r>
                  </a:p>
                </c:rich>
              </c:tx>
              <c:showLegendKey val="0"/>
              <c:showVal val="1"/>
              <c:showCatName val="0"/>
              <c:showSerName val="0"/>
              <c:showPercent val="0"/>
              <c:showBubbleSize val="0"/>
            </c:dLbl>
            <c:dLbl>
              <c:idx val="1"/>
              <c:tx>
                <c:rich>
                  <a:bodyPr/>
                  <a:lstStyle/>
                  <a:p>
                    <a:r>
                      <a:rPr>
                        <a:solidFill>
                          <a:srgbClr val="FFFFFF"/>
                        </a:solidFill>
                      </a:rPr>
                      <a:t>16.3</a:t>
                    </a:r>
                  </a:p>
                </c:rich>
              </c:tx>
              <c:showLegendKey val="0"/>
              <c:showVal val="1"/>
              <c:showCatName val="0"/>
              <c:showSerName val="0"/>
              <c:showPercent val="0"/>
              <c:showBubbleSize val="0"/>
            </c:dLbl>
            <c:dLbl>
              <c:idx val="2"/>
              <c:tx>
                <c:rich>
                  <a:bodyPr/>
                  <a:lstStyle/>
                  <a:p>
                    <a:r>
                      <a:rPr>
                        <a:solidFill>
                          <a:srgbClr val="FFFFFF"/>
                        </a:solidFill>
                      </a:rPr>
                      <a:t>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572154</c:v>
                </c:pt>
                <c:pt idx="1">
                  <c:v>16.284967</c:v>
                </c:pt>
                <c:pt idx="2">
                  <c:v>9.7411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0.9</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74329</c:v>
                </c:pt>
                <c:pt idx="1">
                  <c:v>0.66054</c:v>
                </c:pt>
                <c:pt idx="2">
                  <c:v>0.41187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82142</c:v>
                </c:pt>
                <c:pt idx="1">
                  <c:v>1.444851</c:v>
                </c:pt>
                <c:pt idx="2">
                  <c:v>1.4891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0</a:t>
                    </a:r>
                  </a:p>
                </c:rich>
              </c:tx>
              <c:dLblPos val="ctr"/>
              <c:showLegendKey val="0"/>
              <c:showVal val="1"/>
              <c:showCatName val="0"/>
              <c:showSerName val="0"/>
              <c:showPercent val="0"/>
              <c:showBubbleSize val="0"/>
            </c:dLbl>
            <c:dLbl>
              <c:idx val="1"/>
              <c:tx>
                <c:rich>
                  <a:bodyPr/>
                  <a:lstStyle/>
                  <a:p>
                    <a:r>
                      <a:t>102</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2</a:t>
                    </a:r>
                  </a:p>
                </c:rich>
              </c:tx>
              <c:dLblPos val="ctr"/>
              <c:showLegendKey val="0"/>
              <c:showVal val="1"/>
              <c:showCatName val="0"/>
              <c:showSerName val="0"/>
              <c:showPercent val="0"/>
              <c:showBubbleSize val="0"/>
            </c:dLbl>
            <c:dLbl>
              <c:idx val="4"/>
              <c:tx>
                <c:rich>
                  <a:bodyPr/>
                  <a:lstStyle/>
                  <a:p>
                    <a:r>
                      <a:t>108</a:t>
                    </a:r>
                  </a:p>
                </c:rich>
              </c:tx>
              <c:dLblPos val="ctr"/>
              <c:showLegendKey val="0"/>
              <c:showVal val="1"/>
              <c:showCatName val="0"/>
              <c:showSerName val="0"/>
              <c:showPercent val="0"/>
              <c:showBubbleSize val="0"/>
            </c:dLbl>
            <c:dLbl>
              <c:idx val="5"/>
              <c:tx>
                <c:rich>
                  <a:bodyPr/>
                  <a:lstStyle/>
                  <a:p>
                    <a:r>
                      <a:t>100</a:t>
                    </a:r>
                  </a:p>
                </c:rich>
              </c:tx>
              <c:dLblPos val="ctr"/>
              <c:showLegendKey val="0"/>
              <c:showVal val="1"/>
              <c:showCatName val="0"/>
              <c:showSerName val="0"/>
              <c:showPercent val="0"/>
              <c:showBubbleSize val="0"/>
            </c:dLbl>
            <c:dLbl>
              <c:idx val="6"/>
              <c:tx>
                <c:rich>
                  <a:bodyPr/>
                  <a:lstStyle/>
                  <a:p>
                    <a:r>
                      <a:t>118</a:t>
                    </a:r>
                  </a:p>
                </c:rich>
              </c:tx>
              <c:dLblPos val="ctr"/>
              <c:showLegendKey val="0"/>
              <c:showVal val="1"/>
              <c:showCatName val="0"/>
              <c:showSerName val="0"/>
              <c:showPercent val="0"/>
              <c:showBubbleSize val="0"/>
            </c:dLbl>
            <c:dLbl>
              <c:idx val="7"/>
              <c:tx>
                <c:rich>
                  <a:bodyPr/>
                  <a:lstStyle/>
                  <a:p>
                    <a:r>
                      <a:t>103</a:t>
                    </a:r>
                  </a:p>
                </c:rich>
              </c:tx>
              <c:dLblPos val="ctr"/>
              <c:showLegendKey val="0"/>
              <c:showVal val="1"/>
              <c:showCatName val="0"/>
              <c:showSerName val="0"/>
              <c:showPercent val="0"/>
              <c:showBubbleSize val="0"/>
            </c:dLbl>
            <c:dLbl>
              <c:idx val="8"/>
              <c:tx>
                <c:rich>
                  <a:bodyPr/>
                  <a:lstStyle/>
                  <a:p>
                    <a:r>
                      <a:t>108</a:t>
                    </a:r>
                  </a:p>
                </c:rich>
              </c:tx>
              <c:dLblPos val="ctr"/>
              <c:showLegendKey val="0"/>
              <c:showVal val="1"/>
              <c:showCatName val="0"/>
              <c:showSerName val="0"/>
              <c:showPercent val="0"/>
              <c:showBubbleSize val="0"/>
            </c:dLbl>
            <c:dLbl>
              <c:idx val="9"/>
              <c:tx>
                <c:rich>
                  <a:bodyPr/>
                  <a:lstStyle/>
                  <a:p>
                    <a:r>
                      <a:t>115</a:t>
                    </a:r>
                  </a:p>
                </c:rich>
              </c:tx>
              <c:dLblPos val="ctr"/>
              <c:showLegendKey val="0"/>
              <c:showVal val="1"/>
              <c:showCatName val="0"/>
              <c:showSerName val="0"/>
              <c:showPercent val="0"/>
              <c:showBubbleSize val="0"/>
            </c:dLbl>
            <c:dLbl>
              <c:idx val="10"/>
              <c:tx>
                <c:rich>
                  <a:bodyPr/>
                  <a:lstStyle/>
                  <a:p>
                    <a:r>
                      <a:t>106</a:t>
                    </a:r>
                  </a:p>
                </c:rich>
              </c:tx>
              <c:dLblPos val="ctr"/>
              <c:showLegendKey val="0"/>
              <c:showVal val="1"/>
              <c:showCatName val="0"/>
              <c:showSerName val="0"/>
              <c:showPercent val="0"/>
              <c:showBubbleSize val="0"/>
            </c:dLbl>
            <c:dLbl>
              <c:idx val="11"/>
              <c:tx>
                <c:rich>
                  <a:bodyPr/>
                  <a:lstStyle/>
                  <a:p>
                    <a:r>
                      <a:t>112</a:t>
                    </a:r>
                  </a:p>
                </c:rich>
              </c:tx>
              <c:dLblPos val="ctr"/>
              <c:showLegendKey val="0"/>
              <c:showVal val="1"/>
              <c:showCatName val="0"/>
              <c:showSerName val="0"/>
              <c:showPercent val="0"/>
              <c:showBubbleSize val="0"/>
            </c:dLbl>
            <c:dLbl>
              <c:idx val="12"/>
              <c:tx>
                <c:rich>
                  <a:bodyPr/>
                  <a:lstStyle/>
                  <a:p>
                    <a:r>
                      <a:t>99</a:t>
                    </a:r>
                  </a:p>
                </c:rich>
              </c:tx>
              <c:dLblPos val="ctr"/>
              <c:showLegendKey val="0"/>
              <c:showVal val="1"/>
              <c:showCatName val="0"/>
              <c:showSerName val="0"/>
              <c:showPercent val="0"/>
              <c:showBubbleSize val="0"/>
            </c:dLbl>
            <c:dLbl>
              <c:idx val="13"/>
              <c:tx>
                <c:rich>
                  <a:bodyPr/>
                  <a:lstStyle/>
                  <a:p>
                    <a:r>
                      <a:t>104</a:t>
                    </a:r>
                  </a:p>
                </c:rich>
              </c:tx>
              <c:dLblPos val="ctr"/>
              <c:showLegendKey val="0"/>
              <c:showVal val="1"/>
              <c:showCatName val="0"/>
              <c:showSerName val="0"/>
              <c:showPercent val="0"/>
              <c:showBubbleSize val="0"/>
            </c:dLbl>
            <c:dLbl>
              <c:idx val="14"/>
              <c:tx>
                <c:rich>
                  <a:bodyPr/>
                  <a:lstStyle/>
                  <a:p>
                    <a:r>
                      <a:t>91</a:t>
                    </a:r>
                  </a:p>
                </c:rich>
              </c:tx>
              <c:dLblPos val="ctr"/>
              <c:showLegendKey val="0"/>
              <c:showVal val="1"/>
              <c:showCatName val="0"/>
              <c:showSerName val="0"/>
              <c:showPercent val="0"/>
              <c:showBubbleSize val="0"/>
            </c:dLbl>
            <c:dLbl>
              <c:idx val="15"/>
              <c:tx>
                <c:rich>
                  <a:bodyPr/>
                  <a:lstStyle/>
                  <a:p>
                    <a:r>
                      <a:t>108</a:t>
                    </a:r>
                  </a:p>
                </c:rich>
              </c:tx>
              <c:dLblPos val="ctr"/>
              <c:showLegendKey val="0"/>
              <c:showVal val="1"/>
              <c:showCatName val="0"/>
              <c:showSerName val="0"/>
              <c:showPercent val="0"/>
              <c:showBubbleSize val="0"/>
            </c:dLbl>
            <c:dLbl>
              <c:idx val="16"/>
              <c:tx>
                <c:rich>
                  <a:bodyPr/>
                  <a:lstStyle/>
                  <a:p>
                    <a:r>
                      <a:t>137</a:t>
                    </a:r>
                  </a:p>
                </c:rich>
              </c:tx>
              <c:dLblPos val="ctr"/>
              <c:showLegendKey val="0"/>
              <c:showVal val="1"/>
              <c:showCatName val="0"/>
              <c:showSerName val="0"/>
              <c:showPercent val="0"/>
              <c:showBubbleSize val="0"/>
            </c:dLbl>
            <c:dLbl>
              <c:idx val="17"/>
              <c:tx>
                <c:rich>
                  <a:bodyPr/>
                  <a:lstStyle/>
                  <a:p>
                    <a:r>
                      <a:t>0</a:t>
                    </a:r>
                  </a:p>
                </c:rich>
              </c:tx>
              <c:dLblPos val="ctr"/>
              <c:showLegendKey val="0"/>
              <c:showVal val="1"/>
              <c:showCatName val="0"/>
              <c:showSerName val="0"/>
              <c:showPercent val="0"/>
              <c:showBubbleSize val="0"/>
            </c:dLbl>
            <c:dLbl>
              <c:idx val="18"/>
              <c:tx>
                <c:rich>
                  <a:bodyPr/>
                  <a:lstStyle/>
                  <a:p>
                    <a:r>
                      <a:t>0</a:t>
                    </a:r>
                  </a:p>
                </c:rich>
              </c:tx>
              <c:dLblPos val="ctr"/>
              <c:showLegendKey val="0"/>
              <c:showVal val="1"/>
              <c:showCatName val="0"/>
              <c:showSerName val="0"/>
              <c:showPercent val="0"/>
              <c:showBubbleSize val="0"/>
            </c:dLbl>
            <c:dLbl>
              <c:idx val="19"/>
              <c:tx>
                <c:rich>
                  <a:bodyPr/>
                  <a:lstStyle/>
                  <a:p>
                    <a:r>
                      <a:t>0</a:t>
                    </a:r>
                  </a:p>
                </c:rich>
              </c:tx>
              <c:dLblPos val="ctr"/>
              <c:showLegendKey val="0"/>
              <c:showVal val="1"/>
              <c:showCatName val="0"/>
              <c:showSerName val="0"/>
              <c:showPercent val="0"/>
              <c:showBubbleSize val="0"/>
            </c:dLbl>
            <c:dLbl>
              <c:idx val="20"/>
              <c:tx>
                <c:rich>
                  <a:bodyPr/>
                  <a:lstStyle/>
                  <a:p>
                    <a:r>
                      <a:t>0</a:t>
                    </a:r>
                  </a:p>
                </c:rich>
              </c:tx>
              <c:dLblPos val="ctr"/>
              <c:showLegendKey val="0"/>
              <c:showVal val="1"/>
              <c:showCatName val="0"/>
              <c:showSerName val="0"/>
              <c:showPercent val="0"/>
              <c:showBubbleSize val="0"/>
            </c:dLbl>
            <c:dLbl>
              <c:idx val="21"/>
              <c:tx>
                <c:rich>
                  <a:bodyPr/>
                  <a:lstStyle/>
                  <a:p>
                    <a:r>
                      <a:t>0</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Camembert</c:v>
                </c:pt>
                <c:pt idx="1">
                  <c:v>Rape</c:v>
                </c:pt>
                <c:pt idx="2">
                  <c:v>Salade</c:v>
                </c:pt>
                <c:pt idx="3">
                  <c:v>Classique</c:v>
                </c:pt>
                <c:pt idx="4">
                  <c:v>Bloc</c:v>
                </c:pt>
                <c:pt idx="5">
                  <c:v>Specialite</c:v>
                </c:pt>
                <c:pt idx="6">
                  <c:v>Frais A Tartiner</c:v>
                </c:pt>
                <c:pt idx="7">
                  <c:v>Chevre</c:v>
                </c:pt>
                <c:pt idx="8">
                  <c:v>Enfant</c:v>
                </c:pt>
                <c:pt idx="9">
                  <c:v>Tranche A Froid</c:v>
                </c:pt>
                <c:pt idx="10">
                  <c:v>Pate Persillee</c:v>
                </c:pt>
                <c:pt idx="11">
                  <c:v>Aperitif</c:v>
                </c:pt>
                <c:pt idx="12">
                  <c:v>Ingredient A Chaud</c:v>
                </c:pt>
                <c:pt idx="13">
                  <c:v>Dessert</c:v>
                </c:pt>
                <c:pt idx="14">
                  <c:v>Plat Chaud</c:v>
                </c:pt>
                <c:pt idx="15">
                  <c:v>Brebis</c:v>
                </c:pt>
                <c:pt idx="16">
                  <c:v>Alternative Vegetale</c:v>
                </c:pt>
                <c:pt idx="17">
                  <c:v>Halloumi</c:v>
                </c:pt>
                <c:pt idx="18">
                  <c:v>Snack</c:v>
                </c:pt>
                <c:pt idx="19">
                  <c:v>Washed-Rind</c:v>
                </c:pt>
                <c:pt idx="20">
                  <c:v>Other Soft-Ripened Rinds</c:v>
                </c:pt>
                <c:pt idx="21">
                  <c:v>Comte</c:v>
                </c:pt>
              </c:strCache>
            </c:strRef>
          </c:cat>
          <c:val>
            <c:numRef>
              <c:f>Sheet1!$B$2:$B$23</c:f>
              <c:numCache>
                <c:formatCode>General</c:formatCode>
                <c:ptCount val="22"/>
                <c:pt idx="0">
                  <c:v>0.0</c:v>
                </c:pt>
                <c:pt idx="1">
                  <c:v>1.0186250579074414</c:v>
                </c:pt>
                <c:pt idx="2">
                  <c:v>1.343737056637641</c:v>
                </c:pt>
                <c:pt idx="3">
                  <c:v>1.0193409396644273</c:v>
                </c:pt>
                <c:pt idx="4">
                  <c:v>1.081791881336964</c:v>
                </c:pt>
                <c:pt idx="5">
                  <c:v>0.9981211003145369</c:v>
                </c:pt>
                <c:pt idx="6">
                  <c:v>1.1768257951543253</c:v>
                </c:pt>
                <c:pt idx="7">
                  <c:v>1.0296590453739278</c:v>
                </c:pt>
                <c:pt idx="8">
                  <c:v>1.0788033009484201</c:v>
                </c:pt>
                <c:pt idx="9">
                  <c:v>1.1537017203959814</c:v>
                </c:pt>
                <c:pt idx="10">
                  <c:v>1.0591193784469317</c:v>
                </c:pt>
                <c:pt idx="11">
                  <c:v>1.1184423662170084</c:v>
                </c:pt>
                <c:pt idx="12">
                  <c:v>0.9895265533636144</c:v>
                </c:pt>
                <c:pt idx="13">
                  <c:v>1.0387279828482863</c:v>
                </c:pt>
                <c:pt idx="14">
                  <c:v>0.914380875991333</c:v>
                </c:pt>
                <c:pt idx="15">
                  <c:v>1.078172554184166</c:v>
                </c:pt>
                <c:pt idx="16">
                  <c:v>1.370415266333516</c:v>
                </c:pt>
                <c:pt idx="17">
                  <c:v>0.0</c:v>
                </c:pt>
                <c:pt idx="18">
                  <c:v>0.0</c:v>
                </c:pt>
                <c:pt idx="19">
                  <c:v>0.0</c:v>
                </c:pt>
                <c:pt idx="20">
                  <c:v>0.0</c:v>
                </c:pt>
                <c:pt idx="21">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1537.949465</c:v>
                </c:pt>
                <c:pt idx="1">
                  <c:v>362.896685</c:v>
                </c:pt>
                <c:pt idx="2">
                  <c:v>233.13574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2.6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11.7103</c:v>
                </c:pt>
                <c:pt idx="1">
                  <c:v>11.5789</c:v>
                </c:pt>
                <c:pt idx="2">
                  <c:v>12.69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62</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5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6165459964389691</c:v>
                </c:pt>
                <c:pt idx="1">
                  <c:v>1.0898454415667316</c:v>
                </c:pt>
                <c:pt idx="2">
                  <c:v>0.59038555060280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1537.949465</c:v>
                </c:pt>
                <c:pt idx="1">
                  <c:v>362.896685</c:v>
                </c:pt>
                <c:pt idx="2">
                  <c:v>233.13574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2.6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11.7103</c:v>
                </c:pt>
                <c:pt idx="1">
                  <c:v>11.5789</c:v>
                </c:pt>
                <c:pt idx="2">
                  <c:v>12.69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62</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5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6165459964389691</c:v>
                </c:pt>
                <c:pt idx="1">
                  <c:v>1.0898454415667316</c:v>
                </c:pt>
                <c:pt idx="2">
                  <c:v>0.59038555060280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1537.949465</c:v>
                </c:pt>
                <c:pt idx="1">
                  <c:v>362.896685</c:v>
                </c:pt>
                <c:pt idx="2">
                  <c:v>233.13574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2.6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11.7103</c:v>
                </c:pt>
                <c:pt idx="1">
                  <c:v>11.5789</c:v>
                </c:pt>
                <c:pt idx="2">
                  <c:v>12.69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62</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5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6165459964389691</c:v>
                </c:pt>
                <c:pt idx="1">
                  <c:v>1.0898454415667316</c:v>
                </c:pt>
                <c:pt idx="2">
                  <c:v>0.59038555060280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1537.949465</c:v>
                </c:pt>
                <c:pt idx="1">
                  <c:v>362.896685</c:v>
                </c:pt>
                <c:pt idx="2">
                  <c:v>233.13574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71</a:t>
                    </a:r>
                  </a:p>
                </c:rich>
              </c:tx>
              <c:dLblPos val="t"/>
              <c:showLegendKey val="0"/>
              <c:showVal val="1"/>
              <c:showCatName val="0"/>
              <c:showSerName val="0"/>
              <c:showPercent val="0"/>
              <c:showBubbleSize val="0"/>
            </c:dLbl>
            <c:dLbl>
              <c:idx val="1"/>
              <c:tx>
                <c:rich>
                  <a:bodyPr/>
                  <a:lstStyle/>
                  <a:p>
                    <a:r>
                      <a:t>11.58</a:t>
                    </a:r>
                  </a:p>
                </c:rich>
              </c:tx>
              <c:dLblPos val="t"/>
              <c:showLegendKey val="0"/>
              <c:showVal val="1"/>
              <c:showCatName val="0"/>
              <c:showSerName val="0"/>
              <c:showPercent val="0"/>
              <c:showBubbleSize val="0"/>
            </c:dLbl>
            <c:dLbl>
              <c:idx val="2"/>
              <c:tx>
                <c:rich>
                  <a:bodyPr/>
                  <a:lstStyle/>
                  <a:p>
                    <a:r>
                      <a:t>12.69</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11.7103</c:v>
                </c:pt>
                <c:pt idx="1">
                  <c:v>11.5789</c:v>
                </c:pt>
                <c:pt idx="2">
                  <c:v>12.69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62</a:t>
                    </a:r>
                  </a:p>
                </c:rich>
              </c:tx>
              <c:dLblPos val="ctr"/>
              <c:showLegendKey val="0"/>
              <c:showVal val="1"/>
              <c:showCatName val="0"/>
              <c:showSerName val="0"/>
              <c:showPercent val="0"/>
              <c:showBubbleSize val="0"/>
            </c:dLbl>
            <c:dLbl>
              <c:idx val="1"/>
              <c:tx>
                <c:rich>
                  <a:bodyPr/>
                  <a:lstStyle/>
                  <a:p>
                    <a:r>
                      <a:t>109</a:t>
                    </a:r>
                  </a:p>
                </c:rich>
              </c:tx>
              <c:dLblPos val="ctr"/>
              <c:showLegendKey val="0"/>
              <c:showVal val="1"/>
              <c:showCatName val="0"/>
              <c:showSerName val="0"/>
              <c:showPercent val="0"/>
              <c:showBubbleSize val="0"/>
            </c:dLbl>
            <c:dLbl>
              <c:idx val="2"/>
              <c:tx>
                <c:rich>
                  <a:bodyPr/>
                  <a:lstStyle/>
                  <a:p>
                    <a:r>
                      <a:t>59</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6165459964389691</c:v>
                </c:pt>
                <c:pt idx="1">
                  <c:v>1.0898454415667316</c:v>
                </c:pt>
                <c:pt idx="2">
                  <c:v>0.590385550602803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01.283848</c:v>
                </c:pt>
                <c:pt idx="1">
                  <c:v>221.891116</c:v>
                </c:pt>
                <c:pt idx="2">
                  <c:v>173.9166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6</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11.58</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5603</c:v>
                </c:pt>
                <c:pt idx="1">
                  <c:v>12.4506</c:v>
                </c:pt>
                <c:pt idx="2">
                  <c:v>11.57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2</a:t>
                    </a:r>
                  </a:p>
                </c:rich>
              </c:tx>
              <c:showLegendKey val="0"/>
              <c:showVal val="1"/>
              <c:showCatName val="0"/>
              <c:showSerName val="0"/>
              <c:showPercent val="0"/>
              <c:showBubbleSize val="0"/>
            </c:dLbl>
            <c:dLbl>
              <c:idx val="2"/>
              <c:tx>
                <c:rich>
                  <a:bodyPr/>
                  <a:lstStyle/>
                  <a:p>
                    <a:r>
                      <a:rPr>
                        <a:solidFill>
                          <a:srgbClr val="FFFFFF"/>
                        </a:solidFill>
                      </a:rPr>
                      <a:t>1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409868</c:v>
                </c:pt>
                <c:pt idx="1">
                  <c:v>30.238622</c:v>
                </c:pt>
                <c:pt idx="2">
                  <c:v>17.9785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367591</c:v>
                </c:pt>
                <c:pt idx="1">
                  <c:v>13.341937</c:v>
                </c:pt>
                <c:pt idx="2">
                  <c:v>7.4537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005006</c:v>
                </c:pt>
                <c:pt idx="1">
                  <c:v>2.892393</c:v>
                </c:pt>
                <c:pt idx="2">
                  <c:v>1.72667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29289647838048</c:v>
                </c:pt>
                <c:pt idx="1">
                  <c:v>1.1501084519499918</c:v>
                </c:pt>
                <c:pt idx="2">
                  <c:v>1.14295696855052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01.283848</c:v>
                </c:pt>
                <c:pt idx="1">
                  <c:v>221.891116</c:v>
                </c:pt>
                <c:pt idx="2">
                  <c:v>173.9166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6</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11.58</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5603</c:v>
                </c:pt>
                <c:pt idx="1">
                  <c:v>12.4506</c:v>
                </c:pt>
                <c:pt idx="2">
                  <c:v>11.57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29289647838048</c:v>
                </c:pt>
                <c:pt idx="1">
                  <c:v>1.1501084519499918</c:v>
                </c:pt>
                <c:pt idx="2">
                  <c:v>1.14295696855052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01.283848</c:v>
                </c:pt>
                <c:pt idx="1">
                  <c:v>221.891116</c:v>
                </c:pt>
                <c:pt idx="2">
                  <c:v>173.9166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6</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11.58</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5603</c:v>
                </c:pt>
                <c:pt idx="1">
                  <c:v>12.4506</c:v>
                </c:pt>
                <c:pt idx="2">
                  <c:v>11.57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29289647838048</c:v>
                </c:pt>
                <c:pt idx="1">
                  <c:v>1.1501084519499918</c:v>
                </c:pt>
                <c:pt idx="2">
                  <c:v>1.14295696855052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01.283848</c:v>
                </c:pt>
                <c:pt idx="1">
                  <c:v>221.891116</c:v>
                </c:pt>
                <c:pt idx="2">
                  <c:v>173.91667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6</a:t>
                    </a:r>
                  </a:p>
                </c:rich>
              </c:tx>
              <c:dLblPos val="t"/>
              <c:showLegendKey val="0"/>
              <c:showVal val="1"/>
              <c:showCatName val="0"/>
              <c:showSerName val="0"/>
              <c:showPercent val="0"/>
              <c:showBubbleSize val="0"/>
            </c:dLbl>
            <c:dLbl>
              <c:idx val="1"/>
              <c:tx>
                <c:rich>
                  <a:bodyPr/>
                  <a:lstStyle/>
                  <a:p>
                    <a:r>
                      <a:t>12.45</a:t>
                    </a:r>
                  </a:p>
                </c:rich>
              </c:tx>
              <c:dLblPos val="t"/>
              <c:showLegendKey val="0"/>
              <c:showVal val="1"/>
              <c:showCatName val="0"/>
              <c:showSerName val="0"/>
              <c:showPercent val="0"/>
              <c:showBubbleSize val="0"/>
            </c:dLbl>
            <c:dLbl>
              <c:idx val="2"/>
              <c:tx>
                <c:rich>
                  <a:bodyPr/>
                  <a:lstStyle/>
                  <a:p>
                    <a:r>
                      <a:t>11.58</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5603</c:v>
                </c:pt>
                <c:pt idx="1">
                  <c:v>12.4506</c:v>
                </c:pt>
                <c:pt idx="2">
                  <c:v>11.578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0</a:t>
                    </a:r>
                  </a:p>
                </c:rich>
              </c:tx>
              <c:dLblPos val="ctr"/>
              <c:showLegendKey val="0"/>
              <c:showVal val="1"/>
              <c:showCatName val="0"/>
              <c:showSerName val="0"/>
              <c:showPercent val="0"/>
              <c:showBubbleSize val="0"/>
            </c:dLbl>
            <c:dLbl>
              <c:idx val="1"/>
              <c:tx>
                <c:rich>
                  <a:bodyPr/>
                  <a:lstStyle/>
                  <a:p>
                    <a:r>
                      <a:t>115</a:t>
                    </a:r>
                  </a:p>
                </c:rich>
              </c:tx>
              <c:dLblPos val="ctr"/>
              <c:showLegendKey val="0"/>
              <c:showVal val="1"/>
              <c:showCatName val="0"/>
              <c:showSerName val="0"/>
              <c:showPercent val="0"/>
              <c:showBubbleSize val="0"/>
            </c:dLbl>
            <c:dLbl>
              <c:idx val="2"/>
              <c:tx>
                <c:rich>
                  <a:bodyPr/>
                  <a:lstStyle/>
                  <a:p>
                    <a:r>
                      <a:t>11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29289647838048</c:v>
                </c:pt>
                <c:pt idx="1">
                  <c:v>1.1501084519499918</c:v>
                </c:pt>
                <c:pt idx="2">
                  <c:v>1.14295696855052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54.700438</c:v>
                </c:pt>
                <c:pt idx="1">
                  <c:v>10.303675</c:v>
                </c:pt>
                <c:pt idx="2">
                  <c:v>10.017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86</a:t>
                    </a:r>
                  </a:p>
                </c:rich>
              </c:tx>
              <c:dLblPos val="t"/>
              <c:showLegendKey val="0"/>
              <c:showVal val="1"/>
              <c:showCatName val="0"/>
              <c:showSerName val="0"/>
              <c:showPercent val="0"/>
              <c:showBubbleSize val="0"/>
            </c:dLbl>
            <c:dLbl>
              <c:idx val="1"/>
              <c:tx>
                <c:rich>
                  <a:bodyPr/>
                  <a:lstStyle/>
                  <a:p>
                    <a:r>
                      <a:t>20.99</a:t>
                    </a:r>
                  </a:p>
                </c:rich>
              </c:tx>
              <c:dLblPos val="t"/>
              <c:showLegendKey val="0"/>
              <c:showVal val="1"/>
              <c:showCatName val="0"/>
              <c:showSerName val="0"/>
              <c:showPercent val="0"/>
              <c:showBubbleSize val="0"/>
            </c:dLbl>
            <c:dLbl>
              <c:idx val="2"/>
              <c:tx>
                <c:rich>
                  <a:bodyPr/>
                  <a:lstStyle/>
                  <a:p>
                    <a:r>
                      <a:t>20.2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9.8611</c:v>
                </c:pt>
                <c:pt idx="1">
                  <c:v>20.9879</c:v>
                </c:pt>
                <c:pt idx="2">
                  <c:v>20.26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120</a:t>
                    </a:r>
                  </a:p>
                </c:rich>
              </c:tx>
              <c:dLblPos val="ctr"/>
              <c:showLegendKey val="0"/>
              <c:showVal val="1"/>
              <c:showCatName val="0"/>
              <c:showSerName val="0"/>
              <c:showPercent val="0"/>
              <c:showBubbleSize val="0"/>
            </c:dLbl>
            <c:dLbl>
              <c:idx val="2"/>
              <c:tx>
                <c:rich>
                  <a:bodyPr/>
                  <a:lstStyle/>
                  <a:p>
                    <a:r>
                      <a:t>11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074541084268098</c:v>
                </c:pt>
                <c:pt idx="1">
                  <c:v>1.203036150835415</c:v>
                </c:pt>
                <c:pt idx="2">
                  <c:v>1.11844236621700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54.700438</c:v>
                </c:pt>
                <c:pt idx="1">
                  <c:v>10.303675</c:v>
                </c:pt>
                <c:pt idx="2">
                  <c:v>10.017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9.86</a:t>
                    </a:r>
                  </a:p>
                </c:rich>
              </c:tx>
              <c:dLblPos val="t"/>
              <c:showLegendKey val="0"/>
              <c:showVal val="1"/>
              <c:showCatName val="0"/>
              <c:showSerName val="0"/>
              <c:showPercent val="0"/>
              <c:showBubbleSize val="0"/>
            </c:dLbl>
            <c:dLbl>
              <c:idx val="1"/>
              <c:tx>
                <c:rich>
                  <a:bodyPr/>
                  <a:lstStyle/>
                  <a:p>
                    <a:r>
                      <a:t>20.99</a:t>
                    </a:r>
                  </a:p>
                </c:rich>
              </c:tx>
              <c:dLblPos val="t"/>
              <c:showLegendKey val="0"/>
              <c:showVal val="1"/>
              <c:showCatName val="0"/>
              <c:showSerName val="0"/>
              <c:showPercent val="0"/>
              <c:showBubbleSize val="0"/>
            </c:dLbl>
            <c:dLbl>
              <c:idx val="2"/>
              <c:tx>
                <c:rich>
                  <a:bodyPr/>
                  <a:lstStyle/>
                  <a:p>
                    <a:r>
                      <a:t>20.26</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9.8611</c:v>
                </c:pt>
                <c:pt idx="1">
                  <c:v>20.9879</c:v>
                </c:pt>
                <c:pt idx="2">
                  <c:v>20.26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363.0</a:t>
                    </a:r>
                  </a:p>
                </c:rich>
              </c:tx>
              <c:showLegendKey val="0"/>
              <c:showVal val="1"/>
              <c:showCatName val="0"/>
              <c:showSerName val="0"/>
              <c:showPercent val="0"/>
              <c:showBubbleSize val="0"/>
            </c:dLbl>
            <c:dLbl>
              <c:idx val="1"/>
              <c:tx>
                <c:rich>
                  <a:bodyPr/>
                  <a:lstStyle/>
                  <a:p>
                    <a:r>
                      <a:rPr>
                        <a:solidFill>
                          <a:srgbClr val="FFFFFF"/>
                        </a:solidFill>
                      </a:rPr>
                      <a:t>383.7</a:t>
                    </a:r>
                  </a:p>
                </c:rich>
              </c:tx>
              <c:showLegendKey val="0"/>
              <c:showVal val="1"/>
              <c:showCatName val="0"/>
              <c:showSerName val="0"/>
              <c:showPercent val="0"/>
              <c:showBubbleSize val="0"/>
            </c:dLbl>
            <c:dLbl>
              <c:idx val="2"/>
              <c:tx>
                <c:rich>
                  <a:bodyPr/>
                  <a:lstStyle/>
                  <a:p>
                    <a:r>
                      <a:rPr>
                        <a:solidFill>
                          <a:srgbClr val="FFFFFF"/>
                        </a:solidFill>
                      </a:rPr>
                      <a:t>22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62.969445</c:v>
                </c:pt>
                <c:pt idx="1">
                  <c:v>383.738143</c:v>
                </c:pt>
                <c:pt idx="2">
                  <c:v>228.80429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93.2</a:t>
                    </a:r>
                  </a:p>
                </c:rich>
              </c:tx>
              <c:showLegendKey val="0"/>
              <c:showVal val="1"/>
              <c:showCatName val="0"/>
              <c:showSerName val="0"/>
              <c:showPercent val="0"/>
              <c:showBubbleSize val="0"/>
            </c:dLbl>
            <c:dLbl>
              <c:idx val="1"/>
              <c:tx>
                <c:rich>
                  <a:bodyPr/>
                  <a:lstStyle/>
                  <a:p>
                    <a:r>
                      <a:rPr>
                        <a:solidFill>
                          <a:srgbClr val="FFFFFF"/>
                        </a:solidFill>
                      </a:rPr>
                      <a:t>99.9</a:t>
                    </a:r>
                  </a:p>
                </c:rich>
              </c:tx>
              <c:showLegendKey val="0"/>
              <c:showVal val="1"/>
              <c:showCatName val="0"/>
              <c:showSerName val="0"/>
              <c:showPercent val="0"/>
              <c:showBubbleSize val="0"/>
            </c:dLbl>
            <c:dLbl>
              <c:idx val="2"/>
              <c:tx>
                <c:rich>
                  <a:bodyPr/>
                  <a:lstStyle/>
                  <a:p>
                    <a:r>
                      <a:rPr>
                        <a:solidFill>
                          <a:srgbClr val="FFFFFF"/>
                        </a:solidFill>
                      </a:rPr>
                      <a:t>5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3.170103</c:v>
                </c:pt>
                <c:pt idx="1">
                  <c:v>99.86332</c:v>
                </c:pt>
                <c:pt idx="2">
                  <c:v>55.85793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54.5</a:t>
                    </a:r>
                  </a:p>
                </c:rich>
              </c:tx>
              <c:showLegendKey val="0"/>
              <c:showVal val="1"/>
              <c:showCatName val="0"/>
              <c:showSerName val="0"/>
              <c:showPercent val="0"/>
              <c:showBubbleSize val="0"/>
            </c:dLbl>
            <c:dLbl>
              <c:idx val="1"/>
              <c:tx>
                <c:rich>
                  <a:bodyPr/>
                  <a:lstStyle/>
                  <a:p>
                    <a:r>
                      <a:rPr>
                        <a:solidFill>
                          <a:srgbClr val="FFFFFF"/>
                        </a:solidFill>
                      </a:rPr>
                      <a:t>54.7</a:t>
                    </a:r>
                  </a:p>
                </c:rich>
              </c:tx>
              <c:showLegendKey val="0"/>
              <c:showVal val="1"/>
              <c:showCatName val="0"/>
              <c:showSerName val="0"/>
              <c:showPercent val="0"/>
              <c:showBubbleSize val="0"/>
            </c:dLbl>
            <c:dLbl>
              <c:idx val="2"/>
              <c:tx>
                <c:rich>
                  <a:bodyPr/>
                  <a:lstStyle/>
                  <a:p>
                    <a:r>
                      <a:rPr>
                        <a:solidFill>
                          <a:srgbClr val="FFFFFF"/>
                        </a:solidFill>
                      </a:rPr>
                      <a:t>3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4.528099</c:v>
                </c:pt>
                <c:pt idx="1">
                  <c:v>54.654452</c:v>
                </c:pt>
                <c:pt idx="2">
                  <c:v>34.5145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7</a:t>
                    </a:r>
                  </a:p>
                </c:rich>
              </c:tx>
              <c:dLblPos val="ctr"/>
              <c:showLegendKey val="0"/>
              <c:showVal val="1"/>
              <c:showCatName val="0"/>
              <c:showSerName val="0"/>
              <c:showPercent val="0"/>
              <c:showBubbleSize val="0"/>
            </c:dLbl>
            <c:dLbl>
              <c:idx val="1"/>
              <c:tx>
                <c:rich>
                  <a:bodyPr/>
                  <a:lstStyle/>
                  <a:p>
                    <a:r>
                      <a:t>120</a:t>
                    </a:r>
                  </a:p>
                </c:rich>
              </c:tx>
              <c:dLblPos val="ctr"/>
              <c:showLegendKey val="0"/>
              <c:showVal val="1"/>
              <c:showCatName val="0"/>
              <c:showSerName val="0"/>
              <c:showPercent val="0"/>
              <c:showBubbleSize val="0"/>
            </c:dLbl>
            <c:dLbl>
              <c:idx val="2"/>
              <c:tx>
                <c:rich>
                  <a:bodyPr/>
                  <a:lstStyle/>
                  <a:p>
                    <a:r>
                      <a:t>112</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074541084268098</c:v>
                </c:pt>
                <c:pt idx="1">
                  <c:v>1.203036150835415</c:v>
                </c:pt>
                <c:pt idx="2">
                  <c:v>1.1184423662170084</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8.130613</c:v>
                </c:pt>
                <c:pt idx="1">
                  <c:v>8.127698</c:v>
                </c:pt>
                <c:pt idx="2">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2</a:t>
                    </a:r>
                  </a:p>
                </c:rich>
              </c:tx>
              <c:dLblPos val="t"/>
              <c:showLegendKey val="0"/>
              <c:showVal val="1"/>
              <c:showCatName val="0"/>
              <c:showSerName val="0"/>
              <c:showPercent val="0"/>
              <c:showBubbleSize val="0"/>
            </c:dLbl>
            <c:dLbl>
              <c:idx val="1"/>
              <c:tx>
                <c:rich>
                  <a:bodyPr/>
                  <a:lstStyle/>
                  <a:p>
                    <a:r>
                      <a:t>7.73</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7.7223</c:v>
                </c:pt>
                <c:pt idx="1">
                  <c:v>7.7271</c:v>
                </c:pt>
                <c:pt idx="2">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a:t>
                    </a:r>
                  </a:p>
                </c:rich>
              </c:tx>
              <c:dLblPos val="ctr"/>
              <c:showLegendKey val="0"/>
              <c:showVal val="1"/>
              <c:showCatName val="0"/>
              <c:showSerName val="0"/>
              <c:showPercent val="0"/>
              <c:showBubbleSize val="0"/>
            </c:dLbl>
            <c:dLbl>
              <c:idx val="1"/>
              <c:tx>
                <c:rich>
                  <a:bodyPr/>
                  <a:lstStyle/>
                  <a:p>
                    <a:r>
                      <a:t>99</a:t>
                    </a:r>
                  </a:p>
                </c:rich>
              </c:tx>
              <c:dLblPos val="ctr"/>
              <c:showLegendKey val="0"/>
              <c:showVal val="1"/>
              <c:showCatName val="0"/>
              <c:showSerName val="0"/>
              <c:showPercent val="0"/>
              <c:showBubbleSize val="0"/>
            </c:dLbl>
            <c:dLbl>
              <c:idx val="2"/>
              <c:tx>
                <c:rich>
                  <a:bodyPr/>
                  <a:lstStyle/>
                  <a:p>
                    <a:r>
                      <a:t>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12175350159057534</c:v>
                </c:pt>
                <c:pt idx="1">
                  <c:v>0.9895265533636144</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8.130613</c:v>
                </c:pt>
                <c:pt idx="1">
                  <c:v>8.127698</c:v>
                </c:pt>
                <c:pt idx="2">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2</a:t>
                    </a:r>
                  </a:p>
                </c:rich>
              </c:tx>
              <c:dLblPos val="t"/>
              <c:showLegendKey val="0"/>
              <c:showVal val="1"/>
              <c:showCatName val="0"/>
              <c:showSerName val="0"/>
              <c:showPercent val="0"/>
              <c:showBubbleSize val="0"/>
            </c:dLbl>
            <c:dLbl>
              <c:idx val="1"/>
              <c:tx>
                <c:rich>
                  <a:bodyPr/>
                  <a:lstStyle/>
                  <a:p>
                    <a:r>
                      <a:t>7.73</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7.7223</c:v>
                </c:pt>
                <c:pt idx="1">
                  <c:v>7.7271</c:v>
                </c:pt>
                <c:pt idx="2">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a:t>
                    </a:r>
                  </a:p>
                </c:rich>
              </c:tx>
              <c:dLblPos val="ctr"/>
              <c:showLegendKey val="0"/>
              <c:showVal val="1"/>
              <c:showCatName val="0"/>
              <c:showSerName val="0"/>
              <c:showPercent val="0"/>
              <c:showBubbleSize val="0"/>
            </c:dLbl>
            <c:dLbl>
              <c:idx val="1"/>
              <c:tx>
                <c:rich>
                  <a:bodyPr/>
                  <a:lstStyle/>
                  <a:p>
                    <a:r>
                      <a:t>99</a:t>
                    </a:r>
                  </a:p>
                </c:rich>
              </c:tx>
              <c:dLblPos val="ctr"/>
              <c:showLegendKey val="0"/>
              <c:showVal val="1"/>
              <c:showCatName val="0"/>
              <c:showSerName val="0"/>
              <c:showPercent val="0"/>
              <c:showBubbleSize val="0"/>
            </c:dLbl>
            <c:dLbl>
              <c:idx val="2"/>
              <c:tx>
                <c:rich>
                  <a:bodyPr/>
                  <a:lstStyle/>
                  <a:p>
                    <a:r>
                      <a:t>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12175350159057534</c:v>
                </c:pt>
                <c:pt idx="1">
                  <c:v>0.9895265533636144</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8.130613</c:v>
                </c:pt>
                <c:pt idx="1">
                  <c:v>8.127698</c:v>
                </c:pt>
                <c:pt idx="2">
                  <c:v>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2</a:t>
                    </a:r>
                  </a:p>
                </c:rich>
              </c:tx>
              <c:dLblPos val="t"/>
              <c:showLegendKey val="0"/>
              <c:showVal val="1"/>
              <c:showCatName val="0"/>
              <c:showSerName val="0"/>
              <c:showPercent val="0"/>
              <c:showBubbleSize val="0"/>
            </c:dLbl>
            <c:dLbl>
              <c:idx val="1"/>
              <c:tx>
                <c:rich>
                  <a:bodyPr/>
                  <a:lstStyle/>
                  <a:p>
                    <a:r>
                      <a:t>7.73</a:t>
                    </a:r>
                  </a:p>
                </c:rich>
              </c:tx>
              <c:dLblPos val="t"/>
              <c:showLegendKey val="0"/>
              <c:showVal val="1"/>
              <c:showCatName val="0"/>
              <c:showSerName val="0"/>
              <c:showPercent val="0"/>
              <c:showBubbleSize val="0"/>
            </c:dLbl>
            <c:dLbl>
              <c:idx val="2"/>
              <c:tx>
                <c:rich>
                  <a:bodyPr/>
                  <a:lstStyle/>
                  <a:p>
                    <a:r>
                      <a:t>0.00</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C$2:$C$4</c:f>
              <c:numCache>
                <c:formatCode>General</c:formatCode>
                <c:ptCount val="3"/>
                <c:pt idx="0">
                  <c:v>7.7223</c:v>
                </c:pt>
                <c:pt idx="1">
                  <c:v>7.7271</c:v>
                </c:pt>
                <c:pt idx="2">
                  <c:v>0.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a:t>
                    </a:r>
                  </a:p>
                </c:rich>
              </c:tx>
              <c:dLblPos val="ctr"/>
              <c:showLegendKey val="0"/>
              <c:showVal val="1"/>
              <c:showCatName val="0"/>
              <c:showSerName val="0"/>
              <c:showPercent val="0"/>
              <c:showBubbleSize val="0"/>
            </c:dLbl>
            <c:dLbl>
              <c:idx val="1"/>
              <c:tx>
                <c:rich>
                  <a:bodyPr/>
                  <a:lstStyle/>
                  <a:p>
                    <a:r>
                      <a:t>99</a:t>
                    </a:r>
                  </a:p>
                </c:rich>
              </c:tx>
              <c:dLblPos val="ctr"/>
              <c:showLegendKey val="0"/>
              <c:showVal val="1"/>
              <c:showCatName val="0"/>
              <c:showSerName val="0"/>
              <c:showPercent val="0"/>
              <c:showBubbleSize val="0"/>
            </c:dLbl>
            <c:dLbl>
              <c:idx val="2"/>
              <c:tx>
                <c:rich>
                  <a:bodyPr/>
                  <a:lstStyle/>
                  <a:p>
                    <a:r>
                      <a:t>0</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Intermarche</c:v>
                </c:pt>
                <c:pt idx="2">
                  <c:v>Carrefour</c:v>
                </c:pt>
              </c:strCache>
            </c:strRef>
          </c:cat>
          <c:val>
            <c:numRef>
              <c:f>Sheet1!$B$2:$B$4</c:f>
              <c:numCache>
                <c:formatCode>General</c:formatCode>
                <c:ptCount val="3"/>
                <c:pt idx="0">
                  <c:v>0.12175350159057534</c:v>
                </c:pt>
                <c:pt idx="1">
                  <c:v>0.9895265533636144</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7.167389</c:v>
                </c:pt>
                <c:pt idx="1">
                  <c:v>24.183221</c:v>
                </c:pt>
                <c:pt idx="2">
                  <c:v>19.5262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2</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8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2.121</c:v>
                </c:pt>
                <c:pt idx="1">
                  <c:v>12.568</c:v>
                </c:pt>
                <c:pt idx="2">
                  <c:v>12.81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108</a:t>
                    </a:r>
                  </a:p>
                </c:rich>
              </c:tx>
              <c:dLblPos val="ctr"/>
              <c:showLegendKey val="0"/>
              <c:showVal val="1"/>
              <c:showCatName val="0"/>
              <c:showSerName val="0"/>
              <c:showPercent val="0"/>
              <c:showBubbleSize val="0"/>
            </c:dLbl>
            <c:dLbl>
              <c:idx val="2"/>
              <c:tx>
                <c:rich>
                  <a:bodyPr/>
                  <a:lstStyle/>
                  <a:p>
                    <a:r>
                      <a:t>10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0429136138065809</c:v>
                </c:pt>
                <c:pt idx="1">
                  <c:v>1.0755071810784336</c:v>
                </c:pt>
                <c:pt idx="2">
                  <c:v>1.07880330094842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7.167389</c:v>
                </c:pt>
                <c:pt idx="1">
                  <c:v>24.183221</c:v>
                </c:pt>
                <c:pt idx="2">
                  <c:v>19.5262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2</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8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2.121</c:v>
                </c:pt>
                <c:pt idx="1">
                  <c:v>12.568</c:v>
                </c:pt>
                <c:pt idx="2">
                  <c:v>12.81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3</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083889</c:v>
                </c:pt>
                <c:pt idx="1">
                  <c:v>6.330271</c:v>
                </c:pt>
                <c:pt idx="2">
                  <c:v>3.79221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6988</c:v>
                </c:pt>
                <c:pt idx="1">
                  <c:v>1.665074</c:v>
                </c:pt>
                <c:pt idx="2">
                  <c:v>1.0520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108</a:t>
                    </a:r>
                  </a:p>
                </c:rich>
              </c:tx>
              <c:dLblPos val="ctr"/>
              <c:showLegendKey val="0"/>
              <c:showVal val="1"/>
              <c:showCatName val="0"/>
              <c:showSerName val="0"/>
              <c:showPercent val="0"/>
              <c:showBubbleSize val="0"/>
            </c:dLbl>
            <c:dLbl>
              <c:idx val="2"/>
              <c:tx>
                <c:rich>
                  <a:bodyPr/>
                  <a:lstStyle/>
                  <a:p>
                    <a:r>
                      <a:t>10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0429136138065809</c:v>
                </c:pt>
                <c:pt idx="1">
                  <c:v>1.0755071810784336</c:v>
                </c:pt>
                <c:pt idx="2">
                  <c:v>1.07880330094842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37.167389</c:v>
                </c:pt>
                <c:pt idx="1">
                  <c:v>24.183221</c:v>
                </c:pt>
                <c:pt idx="2">
                  <c:v>19.5262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12</a:t>
                    </a:r>
                  </a:p>
                </c:rich>
              </c:tx>
              <c:dLblPos val="t"/>
              <c:showLegendKey val="0"/>
              <c:showVal val="1"/>
              <c:showCatName val="0"/>
              <c:showSerName val="0"/>
              <c:showPercent val="0"/>
              <c:showBubbleSize val="0"/>
            </c:dLbl>
            <c:dLbl>
              <c:idx val="1"/>
              <c:tx>
                <c:rich>
                  <a:bodyPr/>
                  <a:lstStyle/>
                  <a:p>
                    <a:r>
                      <a:t>12.57</a:t>
                    </a:r>
                  </a:p>
                </c:rich>
              </c:tx>
              <c:dLblPos val="t"/>
              <c:showLegendKey val="0"/>
              <c:showVal val="1"/>
              <c:showCatName val="0"/>
              <c:showSerName val="0"/>
              <c:showPercent val="0"/>
              <c:showBubbleSize val="0"/>
            </c:dLbl>
            <c:dLbl>
              <c:idx val="2"/>
              <c:tx>
                <c:rich>
                  <a:bodyPr/>
                  <a:lstStyle/>
                  <a:p>
                    <a:r>
                      <a:t>12.8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2.121</c:v>
                </c:pt>
                <c:pt idx="1">
                  <c:v>12.568</c:v>
                </c:pt>
                <c:pt idx="2">
                  <c:v>12.813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04</a:t>
                    </a:r>
                  </a:p>
                </c:rich>
              </c:tx>
              <c:dLblPos val="ctr"/>
              <c:showLegendKey val="0"/>
              <c:showVal val="1"/>
              <c:showCatName val="0"/>
              <c:showSerName val="0"/>
              <c:showPercent val="0"/>
              <c:showBubbleSize val="0"/>
            </c:dLbl>
            <c:dLbl>
              <c:idx val="1"/>
              <c:tx>
                <c:rich>
                  <a:bodyPr/>
                  <a:lstStyle/>
                  <a:p>
                    <a:r>
                      <a:t>108</a:t>
                    </a:r>
                  </a:p>
                </c:rich>
              </c:tx>
              <c:dLblPos val="ctr"/>
              <c:showLegendKey val="0"/>
              <c:showVal val="1"/>
              <c:showCatName val="0"/>
              <c:showSerName val="0"/>
              <c:showPercent val="0"/>
              <c:showBubbleSize val="0"/>
            </c:dLbl>
            <c:dLbl>
              <c:idx val="2"/>
              <c:tx>
                <c:rich>
                  <a:bodyPr/>
                  <a:lstStyle/>
                  <a:p>
                    <a:r>
                      <a:t>10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0429136138065809</c:v>
                </c:pt>
                <c:pt idx="1">
                  <c:v>1.0755071810784336</c:v>
                </c:pt>
                <c:pt idx="2">
                  <c:v>1.07880330094842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74.768346</c:v>
                </c:pt>
                <c:pt idx="1">
                  <c:v>29.660078</c:v>
                </c:pt>
                <c:pt idx="2">
                  <c:v>25.7371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11</a:t>
                    </a:r>
                  </a:p>
                </c:rich>
              </c:tx>
              <c:dLblPos val="t"/>
              <c:showLegendKey val="0"/>
              <c:showVal val="1"/>
              <c:showCatName val="0"/>
              <c:showSerName val="0"/>
              <c:showPercent val="0"/>
              <c:showBubbleSize val="0"/>
            </c:dLbl>
            <c:dLbl>
              <c:idx val="1"/>
              <c:tx>
                <c:rich>
                  <a:bodyPr/>
                  <a:lstStyle/>
                  <a:p>
                    <a:r>
                      <a:t>12.02</a:t>
                    </a:r>
                  </a:p>
                </c:rich>
              </c:tx>
              <c:dLblPos val="t"/>
              <c:showLegendKey val="0"/>
              <c:showVal val="1"/>
              <c:showCatName val="0"/>
              <c:showSerName val="0"/>
              <c:showPercent val="0"/>
              <c:showBubbleSize val="0"/>
            </c:dLbl>
            <c:dLbl>
              <c:idx val="2"/>
              <c:tx>
                <c:rich>
                  <a:bodyPr/>
                  <a:lstStyle/>
                  <a:p>
                    <a:r>
                      <a:t>11.7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1132</c:v>
                </c:pt>
                <c:pt idx="1">
                  <c:v>12.0214</c:v>
                </c:pt>
                <c:pt idx="2">
                  <c:v>11.7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1</a:t>
                    </a:r>
                  </a:p>
                </c:rich>
              </c:tx>
              <c:dLblPos val="ctr"/>
              <c:showLegendKey val="0"/>
              <c:showVal val="1"/>
              <c:showCatName val="0"/>
              <c:showSerName val="0"/>
              <c:showPercent val="0"/>
              <c:showBubbleSize val="0"/>
            </c:dLbl>
            <c:dLbl>
              <c:idx val="1"/>
              <c:tx>
                <c:rich>
                  <a:bodyPr/>
                  <a:lstStyle/>
                  <a:p>
                    <a:r>
                      <a:t>118</a:t>
                    </a:r>
                  </a:p>
                </c:rich>
              </c:tx>
              <c:dLblPos val="ctr"/>
              <c:showLegendKey val="0"/>
              <c:showVal val="1"/>
              <c:showCatName val="0"/>
              <c:showSerName val="0"/>
              <c:showPercent val="0"/>
              <c:showBubbleSize val="0"/>
            </c:dLbl>
            <c:dLbl>
              <c:idx val="2"/>
              <c:tx>
                <c:rich>
                  <a:bodyPr/>
                  <a:lstStyle/>
                  <a:p>
                    <a:r>
                      <a:t>11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69420592971742</c:v>
                </c:pt>
                <c:pt idx="1">
                  <c:v>1.1799709567184131</c:v>
                </c:pt>
                <c:pt idx="2">
                  <c:v>1.1768257951543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74.768346</c:v>
                </c:pt>
                <c:pt idx="1">
                  <c:v>29.660078</c:v>
                </c:pt>
                <c:pt idx="2">
                  <c:v>25.7371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11</a:t>
                    </a:r>
                  </a:p>
                </c:rich>
              </c:tx>
              <c:dLblPos val="t"/>
              <c:showLegendKey val="0"/>
              <c:showVal val="1"/>
              <c:showCatName val="0"/>
              <c:showSerName val="0"/>
              <c:showPercent val="0"/>
              <c:showBubbleSize val="0"/>
            </c:dLbl>
            <c:dLbl>
              <c:idx val="1"/>
              <c:tx>
                <c:rich>
                  <a:bodyPr/>
                  <a:lstStyle/>
                  <a:p>
                    <a:r>
                      <a:t>12.02</a:t>
                    </a:r>
                  </a:p>
                </c:rich>
              </c:tx>
              <c:dLblPos val="t"/>
              <c:showLegendKey val="0"/>
              <c:showVal val="1"/>
              <c:showCatName val="0"/>
              <c:showSerName val="0"/>
              <c:showPercent val="0"/>
              <c:showBubbleSize val="0"/>
            </c:dLbl>
            <c:dLbl>
              <c:idx val="2"/>
              <c:tx>
                <c:rich>
                  <a:bodyPr/>
                  <a:lstStyle/>
                  <a:p>
                    <a:r>
                      <a:t>11.7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1132</c:v>
                </c:pt>
                <c:pt idx="1">
                  <c:v>12.0214</c:v>
                </c:pt>
                <c:pt idx="2">
                  <c:v>11.7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1</a:t>
                    </a:r>
                  </a:p>
                </c:rich>
              </c:tx>
              <c:dLblPos val="ctr"/>
              <c:showLegendKey val="0"/>
              <c:showVal val="1"/>
              <c:showCatName val="0"/>
              <c:showSerName val="0"/>
              <c:showPercent val="0"/>
              <c:showBubbleSize val="0"/>
            </c:dLbl>
            <c:dLbl>
              <c:idx val="1"/>
              <c:tx>
                <c:rich>
                  <a:bodyPr/>
                  <a:lstStyle/>
                  <a:p>
                    <a:r>
                      <a:t>118</a:t>
                    </a:r>
                  </a:p>
                </c:rich>
              </c:tx>
              <c:dLblPos val="ctr"/>
              <c:showLegendKey val="0"/>
              <c:showVal val="1"/>
              <c:showCatName val="0"/>
              <c:showSerName val="0"/>
              <c:showPercent val="0"/>
              <c:showBubbleSize val="0"/>
            </c:dLbl>
            <c:dLbl>
              <c:idx val="2"/>
              <c:tx>
                <c:rich>
                  <a:bodyPr/>
                  <a:lstStyle/>
                  <a:p>
                    <a:r>
                      <a:t>11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69420592971742</c:v>
                </c:pt>
                <c:pt idx="1">
                  <c:v>1.1799709567184131</c:v>
                </c:pt>
                <c:pt idx="2">
                  <c:v>1.1768257951543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74.768346</c:v>
                </c:pt>
                <c:pt idx="1">
                  <c:v>29.660078</c:v>
                </c:pt>
                <c:pt idx="2">
                  <c:v>25.7371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11</a:t>
                    </a:r>
                  </a:p>
                </c:rich>
              </c:tx>
              <c:dLblPos val="t"/>
              <c:showLegendKey val="0"/>
              <c:showVal val="1"/>
              <c:showCatName val="0"/>
              <c:showSerName val="0"/>
              <c:showPercent val="0"/>
              <c:showBubbleSize val="0"/>
            </c:dLbl>
            <c:dLbl>
              <c:idx val="1"/>
              <c:tx>
                <c:rich>
                  <a:bodyPr/>
                  <a:lstStyle/>
                  <a:p>
                    <a:r>
                      <a:t>12.02</a:t>
                    </a:r>
                  </a:p>
                </c:rich>
              </c:tx>
              <c:dLblPos val="t"/>
              <c:showLegendKey val="0"/>
              <c:showVal val="1"/>
              <c:showCatName val="0"/>
              <c:showSerName val="0"/>
              <c:showPercent val="0"/>
              <c:showBubbleSize val="0"/>
            </c:dLbl>
            <c:dLbl>
              <c:idx val="2"/>
              <c:tx>
                <c:rich>
                  <a:bodyPr/>
                  <a:lstStyle/>
                  <a:p>
                    <a:r>
                      <a:t>11.7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1132</c:v>
                </c:pt>
                <c:pt idx="1">
                  <c:v>12.0214</c:v>
                </c:pt>
                <c:pt idx="2">
                  <c:v>11.7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1</a:t>
                    </a:r>
                  </a:p>
                </c:rich>
              </c:tx>
              <c:dLblPos val="ctr"/>
              <c:showLegendKey val="0"/>
              <c:showVal val="1"/>
              <c:showCatName val="0"/>
              <c:showSerName val="0"/>
              <c:showPercent val="0"/>
              <c:showBubbleSize val="0"/>
            </c:dLbl>
            <c:dLbl>
              <c:idx val="1"/>
              <c:tx>
                <c:rich>
                  <a:bodyPr/>
                  <a:lstStyle/>
                  <a:p>
                    <a:r>
                      <a:t>118</a:t>
                    </a:r>
                  </a:p>
                </c:rich>
              </c:tx>
              <c:dLblPos val="ctr"/>
              <c:showLegendKey val="0"/>
              <c:showVal val="1"/>
              <c:showCatName val="0"/>
              <c:showSerName val="0"/>
              <c:showPercent val="0"/>
              <c:showBubbleSize val="0"/>
            </c:dLbl>
            <c:dLbl>
              <c:idx val="2"/>
              <c:tx>
                <c:rich>
                  <a:bodyPr/>
                  <a:lstStyle/>
                  <a:p>
                    <a:r>
                      <a:t>11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69420592971742</c:v>
                </c:pt>
                <c:pt idx="1">
                  <c:v>1.1799709567184131</c:v>
                </c:pt>
                <c:pt idx="2">
                  <c:v>1.1768257951543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74.768346</c:v>
                </c:pt>
                <c:pt idx="1">
                  <c:v>29.660078</c:v>
                </c:pt>
                <c:pt idx="2">
                  <c:v>25.7371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11</a:t>
                    </a:r>
                  </a:p>
                </c:rich>
              </c:tx>
              <c:dLblPos val="t"/>
              <c:showLegendKey val="0"/>
              <c:showVal val="1"/>
              <c:showCatName val="0"/>
              <c:showSerName val="0"/>
              <c:showPercent val="0"/>
              <c:showBubbleSize val="0"/>
            </c:dLbl>
            <c:dLbl>
              <c:idx val="1"/>
              <c:tx>
                <c:rich>
                  <a:bodyPr/>
                  <a:lstStyle/>
                  <a:p>
                    <a:r>
                      <a:t>12.02</a:t>
                    </a:r>
                  </a:p>
                </c:rich>
              </c:tx>
              <c:dLblPos val="t"/>
              <c:showLegendKey val="0"/>
              <c:showVal val="1"/>
              <c:showCatName val="0"/>
              <c:showSerName val="0"/>
              <c:showPercent val="0"/>
              <c:showBubbleSize val="0"/>
            </c:dLbl>
            <c:dLbl>
              <c:idx val="2"/>
              <c:tx>
                <c:rich>
                  <a:bodyPr/>
                  <a:lstStyle/>
                  <a:p>
                    <a:r>
                      <a:t>11.77</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1.1132</c:v>
                </c:pt>
                <c:pt idx="1">
                  <c:v>12.0214</c:v>
                </c:pt>
                <c:pt idx="2">
                  <c:v>11.766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71.5</a:t>
                    </a:r>
                  </a:p>
                </c:rich>
              </c:tx>
              <c:showLegendKey val="0"/>
              <c:showVal val="1"/>
              <c:showCatName val="0"/>
              <c:showSerName val="0"/>
              <c:showPercent val="0"/>
              <c:showBubbleSize val="0"/>
            </c:dLbl>
            <c:dLbl>
              <c:idx val="1"/>
              <c:tx>
                <c:rich>
                  <a:bodyPr/>
                  <a:lstStyle/>
                  <a:p>
                    <a:r>
                      <a:rPr>
                        <a:solidFill>
                          <a:srgbClr val="FFFFFF"/>
                        </a:solidFill>
                      </a:rPr>
                      <a:t>74.0</a:t>
                    </a:r>
                  </a:p>
                </c:rich>
              </c:tx>
              <c:showLegendKey val="0"/>
              <c:showVal val="1"/>
              <c:showCatName val="0"/>
              <c:showSerName val="0"/>
              <c:showPercent val="0"/>
              <c:showBubbleSize val="0"/>
            </c:dLbl>
            <c:dLbl>
              <c:idx val="2"/>
              <c:tx>
                <c:rich>
                  <a:bodyPr/>
                  <a:lstStyle/>
                  <a:p>
                    <a:r>
                      <a:rPr>
                        <a:solidFill>
                          <a:srgbClr val="FFFFFF"/>
                        </a:solidFill>
                      </a:rPr>
                      <a:t>4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1.534923</c:v>
                </c:pt>
                <c:pt idx="1">
                  <c:v>73.985506</c:v>
                </c:pt>
                <c:pt idx="2">
                  <c:v>44.89315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9.9</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917561</c:v>
                </c:pt>
                <c:pt idx="1">
                  <c:v>19.967951</c:v>
                </c:pt>
                <c:pt idx="2">
                  <c:v>12.7775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11</a:t>
                    </a:r>
                  </a:p>
                </c:rich>
              </c:tx>
              <c:dLblPos val="ctr"/>
              <c:showLegendKey val="0"/>
              <c:showVal val="1"/>
              <c:showCatName val="0"/>
              <c:showSerName val="0"/>
              <c:showPercent val="0"/>
              <c:showBubbleSize val="0"/>
            </c:dLbl>
            <c:dLbl>
              <c:idx val="1"/>
              <c:tx>
                <c:rich>
                  <a:bodyPr/>
                  <a:lstStyle/>
                  <a:p>
                    <a:r>
                      <a:t>118</a:t>
                    </a:r>
                  </a:p>
                </c:rich>
              </c:tx>
              <c:dLblPos val="ctr"/>
              <c:showLegendKey val="0"/>
              <c:showVal val="1"/>
              <c:showCatName val="0"/>
              <c:showSerName val="0"/>
              <c:showPercent val="0"/>
              <c:showBubbleSize val="0"/>
            </c:dLbl>
            <c:dLbl>
              <c:idx val="2"/>
              <c:tx>
                <c:rich>
                  <a:bodyPr/>
                  <a:lstStyle/>
                  <a:p>
                    <a:r>
                      <a:t>118</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1069420592971742</c:v>
                </c:pt>
                <c:pt idx="1">
                  <c:v>1.1799709567184131</c:v>
                </c:pt>
                <c:pt idx="2">
                  <c:v>1.176825795154325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450.372441</c:v>
                </c:pt>
                <c:pt idx="1">
                  <c:v>79.861894</c:v>
                </c:pt>
                <c:pt idx="2">
                  <c:v>56.1518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76</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2.7555</c:v>
                </c:pt>
                <c:pt idx="1">
                  <c:v>13.827</c:v>
                </c:pt>
                <c:pt idx="2">
                  <c:v>12.51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8</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2830292922885305</c:v>
                </c:pt>
                <c:pt idx="1">
                  <c:v>1.308715223798925</c:v>
                </c:pt>
                <c:pt idx="2">
                  <c:v>1.3437370566376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450.372441</c:v>
                </c:pt>
                <c:pt idx="1">
                  <c:v>79.861894</c:v>
                </c:pt>
                <c:pt idx="2">
                  <c:v>56.15185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2.76</a:t>
                    </a:r>
                  </a:p>
                </c:rich>
              </c:tx>
              <c:dLblPos val="t"/>
              <c:showLegendKey val="0"/>
              <c:showVal val="1"/>
              <c:showCatName val="0"/>
              <c:showSerName val="0"/>
              <c:showPercent val="0"/>
              <c:showBubbleSize val="0"/>
            </c:dLbl>
            <c:dLbl>
              <c:idx val="1"/>
              <c:tx>
                <c:rich>
                  <a:bodyPr/>
                  <a:lstStyle/>
                  <a:p>
                    <a:r>
                      <a:t>13.83</a:t>
                    </a:r>
                  </a:p>
                </c:rich>
              </c:tx>
              <c:dLblPos val="t"/>
              <c:showLegendKey val="0"/>
              <c:showVal val="1"/>
              <c:showCatName val="0"/>
              <c:showSerName val="0"/>
              <c:showPercent val="0"/>
              <c:showBubbleSize val="0"/>
            </c:dLbl>
            <c:dLbl>
              <c:idx val="2"/>
              <c:tx>
                <c:rich>
                  <a:bodyPr/>
                  <a:lstStyle/>
                  <a:p>
                    <a:r>
                      <a:t>12.51</a:t>
                    </a:r>
                  </a:p>
                </c:rich>
              </c:tx>
              <c:dLblPos val="t"/>
              <c:showLegendKey val="0"/>
              <c:showVal val="1"/>
              <c:showCatName val="0"/>
              <c:showSerName val="0"/>
              <c:showPercent val="0"/>
              <c:showBubbleSize val="0"/>
            </c:dLbl>
            <c:dLbl>
              <c:idx val="3"/>
              <c:tx>
                <c:rich>
                  <a:bodyPr/>
                  <a:lstStyle/>
                  <a:p>
                    <a:r>
                      <a:t>20.13</a:t>
                    </a:r>
                  </a:p>
                </c:rich>
              </c:tx>
              <c:dLblPos val="t"/>
              <c:showLegendKey val="0"/>
              <c:showVal val="1"/>
              <c:showCatName val="0"/>
              <c:showSerName val="0"/>
              <c:showPercent val="0"/>
              <c:showBubbleSize val="0"/>
            </c:dLbl>
            <c:dLbl>
              <c:idx val="4"/>
              <c:tx>
                <c:rich>
                  <a:bodyPr/>
                  <a:lstStyle/>
                  <a:p>
                    <a:r>
                      <a:t>34.62</a:t>
                    </a:r>
                  </a:p>
                </c:rich>
              </c:tx>
              <c:dLblPos val="t"/>
              <c:showLegendKey val="0"/>
              <c:showVal val="1"/>
              <c:showCatName val="0"/>
              <c:showSerName val="0"/>
              <c:showPercent val="0"/>
              <c:showBubbleSize val="0"/>
            </c:dLbl>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C$2:$C$4</c:f>
              <c:numCache>
                <c:formatCode>General</c:formatCode>
                <c:ptCount val="3"/>
                <c:pt idx="0">
                  <c:v>12.7555</c:v>
                </c:pt>
                <c:pt idx="1">
                  <c:v>13.827</c:v>
                </c:pt>
                <c:pt idx="2">
                  <c:v>12.51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a:lstStyle/>
                  <a:p>
                    <a:r>
                      <a:t>128</a:t>
                    </a:r>
                  </a:p>
                </c:rich>
              </c:tx>
              <c:dLblPos val="ctr"/>
              <c:showLegendKey val="0"/>
              <c:showVal val="1"/>
              <c:showCatName val="0"/>
              <c:showSerName val="0"/>
              <c:showPercent val="0"/>
              <c:showBubbleSize val="0"/>
            </c:dLbl>
            <c:dLbl>
              <c:idx val="1"/>
              <c:tx>
                <c:rich>
                  <a:bodyPr/>
                  <a:lstStyle/>
                  <a:p>
                    <a:r>
                      <a:t>131</a:t>
                    </a:r>
                  </a:p>
                </c:rich>
              </c:tx>
              <c:dLblPos val="ctr"/>
              <c:showLegendKey val="0"/>
              <c:showVal val="1"/>
              <c:showCatName val="0"/>
              <c:showSerName val="0"/>
              <c:showPercent val="0"/>
              <c:showBubbleSize val="0"/>
            </c:dLbl>
            <c:dLbl>
              <c:idx val="2"/>
              <c:tx>
                <c:rich>
                  <a:bodyPr/>
                  <a:lstStyle/>
                  <a:p>
                    <a:r>
                      <a:t>134</a:t>
                    </a:r>
                  </a:p>
                </c:rich>
              </c:tx>
              <c:dLblPos val="ctr"/>
              <c:showLegendKey val="0"/>
              <c:showVal val="1"/>
              <c:showCatName val="0"/>
              <c:showSerName val="0"/>
              <c:showPercent val="0"/>
              <c:showBubbleSize val="0"/>
            </c:dLbl>
            <c:dLbl>
              <c:idx val="3"/>
              <c:tx>
                <c:rich>
                  <a:bodyPr/>
                  <a:lstStyle/>
                  <a:p>
                    <a:r>
                      <a:t>104</a:t>
                    </a:r>
                  </a:p>
                </c:rich>
              </c:tx>
              <c:dLblPos val="ctr"/>
              <c:showLegendKey val="0"/>
              <c:showVal val="1"/>
              <c:showCatName val="0"/>
              <c:showSerName val="0"/>
              <c:showPercent val="0"/>
              <c:showBubbleSize val="0"/>
            </c:dLbl>
            <c:dLbl>
              <c:idx val="4"/>
              <c:tx>
                <c:rich>
                  <a:bodyPr/>
                  <a:lstStyle/>
                  <a:p>
                    <a:r>
                      <a:t>118</a:t>
                    </a:r>
                  </a:p>
                </c:rich>
              </c:tx>
              <c:dLblPos val="ctr"/>
              <c:showLegendKey val="0"/>
              <c:showVal val="1"/>
              <c:showCatName val="0"/>
              <c:showSerName val="0"/>
              <c:showPercent val="0"/>
              <c:showBubbleSize val="0"/>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c:v>
                </c:pt>
                <c:pt idx="1">
                  <c:v>Carrefour</c:v>
                </c:pt>
                <c:pt idx="2">
                  <c:v>Intermarche</c:v>
                </c:pt>
              </c:strCache>
            </c:strRef>
          </c:cat>
          <c:val>
            <c:numRef>
              <c:f>Sheet1!$B$2:$B$4</c:f>
              <c:numCache>
                <c:formatCode>General</c:formatCode>
                <c:ptCount val="3"/>
                <c:pt idx="0">
                  <c:v>1.2830292922885305</c:v>
                </c:pt>
                <c:pt idx="1">
                  <c:v>1.308715223798925</c:v>
                </c:pt>
                <c:pt idx="2">
                  <c:v>1.34373705663764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711009</c:v>
                </c:pt>
                <c:pt idx="1">
                  <c:v>4.228704</c:v>
                </c:pt>
                <c:pt idx="2">
                  <c:v>2.60447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686</c:v>
                </c:pt>
                <c:pt idx="1">
                  <c:v>1.673669</c:v>
                </c:pt>
                <c:pt idx="2">
                  <c:v>0.9729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7.5</a:t>
                    </a:r>
                  </a:p>
                </c:rich>
              </c:tx>
              <c:showLegendKey val="0"/>
              <c:showVal val="1"/>
              <c:showCatName val="0"/>
              <c:showSerName val="0"/>
              <c:showPercent val="0"/>
              <c:showBubbleSize val="0"/>
            </c:dLbl>
            <c:dLbl>
              <c:idx val="2"/>
              <c:tx>
                <c:rich>
                  <a:bodyPr/>
                  <a:lstStyle/>
                  <a:p>
                    <a:r>
                      <a:rPr>
                        <a:solidFill>
                          <a:srgbClr val="FFFFFF"/>
                        </a:solidFill>
                      </a:rPr>
                      <a:t>1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6.293856</c:v>
                </c:pt>
                <c:pt idx="1">
                  <c:v>67.541016</c:v>
                </c:pt>
                <c:pt idx="2">
                  <c:v>15.0625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3</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732413</c:v>
                </c:pt>
                <c:pt idx="1">
                  <c:v>19.31494</c:v>
                </c:pt>
                <c:pt idx="2">
                  <c:v>5.22141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3</a:t>
                    </a:r>
                  </a:p>
                </c:rich>
              </c:tx>
              <c:showLegendKey val="0"/>
              <c:showVal val="1"/>
              <c:showCatName val="0"/>
              <c:showSerName val="0"/>
              <c:showPercent val="0"/>
              <c:showBubbleSize val="0"/>
            </c:dLbl>
            <c:dLbl>
              <c:idx val="2"/>
              <c:tx>
                <c:rich>
                  <a:bodyPr/>
                  <a:lstStyle/>
                  <a:p>
                    <a:r>
                      <a:rPr>
                        <a:solidFill>
                          <a:srgbClr val="FFFFFF"/>
                        </a:solidFill>
                      </a:rPr>
                      <a:t>7.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2553</c:v>
                </c:pt>
                <c:pt idx="1">
                  <c:v>15.282894</c:v>
                </c:pt>
                <c:pt idx="2">
                  <c:v>7.14302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9</a:t>
                    </a:r>
                  </a:p>
                </c:rich>
              </c:tx>
              <c:showLegendKey val="0"/>
              <c:showVal val="1"/>
              <c:showCatName val="0"/>
              <c:showSerName val="0"/>
              <c:showPercent val="0"/>
              <c:showBubbleSize val="0"/>
            </c:dLbl>
            <c:dLbl>
              <c:idx val="2"/>
              <c:tx>
                <c:rich>
                  <a:bodyPr/>
                  <a:lstStyle/>
                  <a:p>
                    <a:r>
                      <a:rPr>
                        <a:solidFill>
                          <a:srgbClr val="FFFFFF"/>
                        </a:solidFill>
                      </a:rPr>
                      <a:t>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674308</c:v>
                </c:pt>
                <c:pt idx="1">
                  <c:v>9.876728</c:v>
                </c:pt>
                <c:pt idx="2">
                  <c:v>5.23413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30938</c:v>
                </c:pt>
                <c:pt idx="1">
                  <c:v>3.219515</c:v>
                </c:pt>
                <c:pt idx="2">
                  <c:v>1.62901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ntremon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618141</c:v>
                </c:pt>
                <c:pt idx="1">
                  <c:v>3.369592</c:v>
                </c:pt>
                <c:pt idx="2">
                  <c:v>0.06772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0384</c:v>
                </c:pt>
                <c:pt idx="1">
                  <c:v>1.494911</c:v>
                </c:pt>
                <c:pt idx="2">
                  <c:v>0.7037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Laita</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130611</c:v>
                </c:pt>
                <c:pt idx="1">
                  <c:v>1.306065</c:v>
                </c:pt>
                <c:pt idx="2">
                  <c:v>0.90680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1</a:t>
                    </a:r>
                  </a:p>
                </c:rich>
              </c:tx>
              <c:showLegendKey val="0"/>
              <c:showVal val="1"/>
              <c:showCatName val="0"/>
              <c:showSerName val="0"/>
              <c:showPercent val="0"/>
              <c:showBubbleSize val="0"/>
            </c:dLbl>
            <c:dLbl>
              <c:idx val="2"/>
              <c:tx>
                <c:rich>
                  <a:bodyPr/>
                  <a:lstStyle/>
                  <a:p>
                    <a:r>
                      <a:rPr>
                        <a:solidFill>
                          <a:srgbClr val="FFFFFF"/>
                        </a:solidFill>
                      </a:rPr>
                      <a:t>3.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694438</c:v>
                </c:pt>
                <c:pt idx="1">
                  <c:v>12.1386</c:v>
                </c:pt>
                <c:pt idx="2">
                  <c:v>3.7608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Bel</c:v>
                </c:pt>
              </c:strCache>
            </c:strRef>
          </c:tx>
          <c:spPr>
            <a:solidFill>
              <a:srgbClr val="00504B"/>
            </a:solidFill>
            <a:ln>
              <a:solidFill>
                <a:schemeClr val="bg1"/>
              </a:solidFill>
            </a:ln>
            <a:effectLst/>
          </c:spPr>
          <c:invertIfNegative val="0"/>
          <c:dLbls>
            <c:dLbl>
              <c:idx val="0"/>
              <c:tx>
                <c:rich>
                  <a:bodyPr/>
                  <a:lstStyle/>
                  <a:p>
                    <a:r>
                      <a:rPr>
                        <a:solidFill>
                          <a:srgbClr val="FFFFFF"/>
                        </a:solidFill>
                      </a:rPr>
                      <a:t>49.0</a:t>
                    </a:r>
                  </a:p>
                </c:rich>
              </c:tx>
              <c:showLegendKey val="0"/>
              <c:showVal val="1"/>
              <c:showCatName val="0"/>
              <c:showSerName val="0"/>
              <c:showPercent val="0"/>
              <c:showBubbleSize val="0"/>
            </c:dLbl>
            <c:dLbl>
              <c:idx val="1"/>
              <c:tx>
                <c:rich>
                  <a:bodyPr/>
                  <a:lstStyle/>
                  <a:p>
                    <a:r>
                      <a:rPr>
                        <a:solidFill>
                          <a:srgbClr val="FFFFFF"/>
                        </a:solidFill>
                      </a:rPr>
                      <a:t>55.3</a:t>
                    </a:r>
                  </a:p>
                </c:rich>
              </c:tx>
              <c:showLegendKey val="0"/>
              <c:showVal val="1"/>
              <c:showCatName val="0"/>
              <c:showSerName val="0"/>
              <c:showPercent val="0"/>
              <c:showBubbleSize val="0"/>
            </c:dLbl>
            <c:dLbl>
              <c:idx val="2"/>
              <c:tx>
                <c:rich>
                  <a:bodyPr/>
                  <a:lstStyle/>
                  <a:p>
                    <a:r>
                      <a:rPr>
                        <a:solidFill>
                          <a:srgbClr val="FFFFFF"/>
                        </a:solidFill>
                      </a:rPr>
                      <a:t>3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8.997196</c:v>
                </c:pt>
                <c:pt idx="1">
                  <c:v>55.257325</c:v>
                </c:pt>
                <c:pt idx="2">
                  <c:v>34.6976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Others</c:v>
                </c:pt>
              </c:strCache>
            </c:strRef>
          </c:tx>
          <c:spPr>
            <a:solidFill>
              <a:srgbClr val="A6A6A6"/>
            </a:solidFill>
            <a:ln>
              <a:solidFill>
                <a:schemeClr val="bg1"/>
              </a:solidFill>
            </a:ln>
            <a:effectLst/>
          </c:spPr>
          <c:invertIfNegative val="0"/>
          <c:dLbls>
            <c:dLbl>
              <c:idx val="0"/>
              <c:tx>
                <c:rich>
                  <a:bodyPr/>
                  <a:lstStyle/>
                  <a:p>
                    <a:r>
                      <a:rPr>
                        <a:solidFill>
                          <a:srgbClr val="FFFFFF"/>
                        </a:solidFill>
                      </a:rPr>
                      <a:t>16.7</a:t>
                    </a:r>
                  </a:p>
                </c:rich>
              </c:tx>
              <c:showLegendKey val="0"/>
              <c:showVal val="1"/>
              <c:showCatName val="0"/>
              <c:showSerName val="0"/>
              <c:showPercent val="0"/>
              <c:showBubbleSize val="0"/>
            </c:dLbl>
            <c:dLbl>
              <c:idx val="1"/>
              <c:tx>
                <c:rich>
                  <a:bodyPr/>
                  <a:lstStyle/>
                  <a:p>
                    <a:r>
                      <a:rPr>
                        <a:solidFill>
                          <a:srgbClr val="FFFFFF"/>
                        </a:solidFill>
                      </a:rPr>
                      <a:t>17.7</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657373</c:v>
                </c:pt>
                <c:pt idx="1">
                  <c:v>17.695797</c:v>
                </c:pt>
                <c:pt idx="2">
                  <c:v>10.6734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6</a:t>
                    </a:r>
                  </a:p>
                </c:rich>
              </c:tx>
              <c:showLegendKey val="0"/>
              <c:showVal val="1"/>
              <c:showCatName val="0"/>
              <c:showSerName val="0"/>
              <c:showPercent val="0"/>
              <c:showBubbleSize val="0"/>
            </c:dLbl>
            <c:dLbl>
              <c:idx val="2"/>
              <c:tx>
                <c:rich>
                  <a:bodyPr/>
                  <a:lstStyle/>
                  <a:p>
                    <a:r>
                      <a:rPr>
                        <a:solidFill>
                          <a:srgbClr val="FFFFFF"/>
                        </a:solidFill>
                      </a:rPr>
                      <a:t>1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2.093965</c:v>
                </c:pt>
                <c:pt idx="1">
                  <c:v>22.622281</c:v>
                </c:pt>
                <c:pt idx="2">
                  <c:v>15.0063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8</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548812</c:v>
                </c:pt>
                <c:pt idx="1">
                  <c:v>17.799778</c:v>
                </c:pt>
                <c:pt idx="2">
                  <c:v>10.10745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2</a:t>
                    </a:r>
                  </a:p>
                </c:rich>
              </c:tx>
              <c:showLegendKey val="0"/>
              <c:showVal val="1"/>
              <c:showCatName val="0"/>
              <c:showSerName val="0"/>
              <c:showPercent val="0"/>
              <c:showBubbleSize val="0"/>
            </c:dLbl>
            <c:dLbl>
              <c:idx val="2"/>
              <c:tx>
                <c:rich>
                  <a:bodyPr/>
                  <a:lstStyle/>
                  <a:p>
                    <a:r>
                      <a:rPr>
                        <a:solidFill>
                          <a:srgbClr val="FFFFFF"/>
                        </a:solidFill>
                      </a:rPr>
                      <a:t>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961223</c:v>
                </c:pt>
                <c:pt idx="1">
                  <c:v>5.208624</c:v>
                </c:pt>
                <c:pt idx="2">
                  <c:v>2.77797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7</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537378</c:v>
                </c:pt>
                <c:pt idx="1">
                  <c:v>10.697936</c:v>
                </c:pt>
                <c:pt idx="2">
                  <c:v>7.47010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a:solidFill>
                          <a:srgbClr val="FFFFFF"/>
                        </a:solidFill>
                      </a:rPr>
                      <a:t>287.0</a:t>
                    </a:r>
                  </a:p>
                </c:rich>
              </c:tx>
              <c:showLegendKey val="0"/>
              <c:showVal val="1"/>
              <c:showCatName val="0"/>
              <c:showSerName val="0"/>
              <c:showPercent val="0"/>
              <c:showBubbleSize val="0"/>
            </c:dLbl>
            <c:dLbl>
              <c:idx val="1"/>
              <c:tx>
                <c:rich>
                  <a:bodyPr/>
                  <a:lstStyle/>
                  <a:p>
                    <a:r>
                      <a:rPr>
                        <a:solidFill>
                          <a:srgbClr val="FFFFFF"/>
                        </a:solidFill>
                      </a:rPr>
                      <a:t>291.9</a:t>
                    </a:r>
                  </a:p>
                </c:rich>
              </c:tx>
              <c:showLegendKey val="0"/>
              <c:showVal val="1"/>
              <c:showCatName val="0"/>
              <c:showSerName val="0"/>
              <c:showPercent val="0"/>
              <c:showBubbleSize val="0"/>
            </c:dLbl>
            <c:dLbl>
              <c:idx val="2"/>
              <c:tx>
                <c:rich>
                  <a:bodyPr/>
                  <a:lstStyle/>
                  <a:p>
                    <a:r>
                      <a:rPr>
                        <a:solidFill>
                          <a:srgbClr val="FFFFFF"/>
                        </a:solidFill>
                      </a:rPr>
                      <a:t>18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7.046032</c:v>
                </c:pt>
                <c:pt idx="1">
                  <c:v>291.860811</c:v>
                </c:pt>
                <c:pt idx="2">
                  <c:v>187.93126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23.6</a:t>
                    </a:r>
                  </a:p>
                </c:rich>
              </c:tx>
              <c:showLegendKey val="0"/>
              <c:showVal val="1"/>
              <c:showCatName val="0"/>
              <c:showSerName val="0"/>
              <c:showPercent val="0"/>
              <c:showBubbleSize val="0"/>
            </c:dLbl>
            <c:dLbl>
              <c:idx val="1"/>
              <c:tx>
                <c:rich>
                  <a:bodyPr/>
                  <a:lstStyle/>
                  <a:p>
                    <a:r>
                      <a:rPr>
                        <a:solidFill>
                          <a:srgbClr val="FFFFFF"/>
                        </a:solidFill>
                      </a:rPr>
                      <a:t>138.1</a:t>
                    </a:r>
                  </a:p>
                </c:rich>
              </c:tx>
              <c:showLegendKey val="0"/>
              <c:showVal val="1"/>
              <c:showCatName val="0"/>
              <c:showSerName val="0"/>
              <c:showPercent val="0"/>
              <c:showBubbleSize val="0"/>
            </c:dLbl>
            <c:dLbl>
              <c:idx val="2"/>
              <c:tx>
                <c:rich>
                  <a:bodyPr/>
                  <a:lstStyle/>
                  <a:p>
                    <a:r>
                      <a:rPr>
                        <a:solidFill>
                          <a:srgbClr val="FFFFFF"/>
                        </a:solidFill>
                      </a:rPr>
                      <a:t>7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3.5658</c:v>
                </c:pt>
                <c:pt idx="1">
                  <c:v>138.065506</c:v>
                </c:pt>
                <c:pt idx="2">
                  <c:v>76.64569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73.7</a:t>
                    </a:r>
                  </a:p>
                </c:rich>
              </c:tx>
              <c:showLegendKey val="0"/>
              <c:showVal val="1"/>
              <c:showCatName val="0"/>
              <c:showSerName val="0"/>
              <c:showPercent val="0"/>
              <c:showBubbleSize val="0"/>
            </c:dLbl>
            <c:dLbl>
              <c:idx val="1"/>
              <c:tx>
                <c:rich>
                  <a:bodyPr/>
                  <a:lstStyle/>
                  <a:p>
                    <a:r>
                      <a:rPr>
                        <a:solidFill>
                          <a:srgbClr val="FFFFFF"/>
                        </a:solidFill>
                      </a:rPr>
                      <a:t>77.8</a:t>
                    </a:r>
                  </a:p>
                </c:rich>
              </c:tx>
              <c:showLegendKey val="0"/>
              <c:showVal val="1"/>
              <c:showCatName val="0"/>
              <c:showSerName val="0"/>
              <c:showPercent val="0"/>
              <c:showBubbleSize val="0"/>
            </c:dLbl>
            <c:dLbl>
              <c:idx val="2"/>
              <c:tx>
                <c:rich>
                  <a:bodyPr/>
                  <a:lstStyle/>
                  <a:p>
                    <a:r>
                      <a:rPr>
                        <a:solidFill>
                          <a:srgbClr val="FFFFFF"/>
                        </a:solidFill>
                      </a:rPr>
                      <a:t>4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3.709402</c:v>
                </c:pt>
                <c:pt idx="1">
                  <c:v>77.827503</c:v>
                </c:pt>
                <c:pt idx="2">
                  <c:v>41.734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11.0</a:t>
                    </a:r>
                  </a:p>
                </c:rich>
              </c:tx>
              <c:showLegendKey val="0"/>
              <c:showVal val="1"/>
              <c:showCatName val="0"/>
              <c:showSerName val="0"/>
              <c:showPercent val="0"/>
              <c:showBubbleSize val="0"/>
            </c:dLbl>
            <c:dLbl>
              <c:idx val="1"/>
              <c:tx>
                <c:rich>
                  <a:bodyPr/>
                  <a:lstStyle/>
                  <a:p>
                    <a:r>
                      <a:rPr>
                        <a:solidFill>
                          <a:srgbClr val="FFFFFF"/>
                        </a:solidFill>
                      </a:rPr>
                      <a:t>125.3</a:t>
                    </a:r>
                  </a:p>
                </c:rich>
              </c:tx>
              <c:showLegendKey val="0"/>
              <c:showVal val="1"/>
              <c:showCatName val="0"/>
              <c:showSerName val="0"/>
              <c:showPercent val="0"/>
              <c:showBubbleSize val="0"/>
            </c:dLbl>
            <c:dLbl>
              <c:idx val="2"/>
              <c:tx>
                <c:rich>
                  <a:bodyPr/>
                  <a:lstStyle/>
                  <a:p>
                    <a:r>
                      <a:rPr>
                        <a:solidFill>
                          <a:srgbClr val="FFFFFF"/>
                        </a:solidFill>
                      </a:rPr>
                      <a:t>8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10.99047</c:v>
                </c:pt>
                <c:pt idx="1">
                  <c:v>125.266485</c:v>
                </c:pt>
                <c:pt idx="2">
                  <c:v>85.6898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69084</c:v>
                </c:pt>
                <c:pt idx="1">
                  <c:v>3.52261</c:v>
                </c:pt>
                <c:pt idx="2">
                  <c:v>2.3874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94685</c:v>
                </c:pt>
                <c:pt idx="1">
                  <c:v>1.967229</c:v>
                </c:pt>
                <c:pt idx="2">
                  <c:v>1.07265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11772</c:v>
                </c:pt>
                <c:pt idx="1">
                  <c:v>0.833001</c:v>
                </c:pt>
                <c:pt idx="2">
                  <c:v>0.50841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58844</c:v>
                </c:pt>
                <c:pt idx="1">
                  <c:v>2.007558</c:v>
                </c:pt>
                <c:pt idx="2">
                  <c:v>1.4871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a:solidFill>
                          <a:srgbClr val="FFFFFF"/>
                        </a:solidFill>
                      </a:rPr>
                      <a:t>47.2</a:t>
                    </a:r>
                  </a:p>
                </c:rich>
              </c:tx>
              <c:showLegendKey val="0"/>
              <c:showVal val="1"/>
              <c:showCatName val="0"/>
              <c:showSerName val="0"/>
              <c:showPercent val="0"/>
              <c:showBubbleSize val="0"/>
            </c:dLbl>
            <c:dLbl>
              <c:idx val="1"/>
              <c:tx>
                <c:rich>
                  <a:bodyPr/>
                  <a:lstStyle/>
                  <a:p>
                    <a:r>
                      <a:rPr>
                        <a:solidFill>
                          <a:srgbClr val="FFFFFF"/>
                        </a:solidFill>
                      </a:rPr>
                      <a:t>48.1</a:t>
                    </a:r>
                  </a:p>
                </c:rich>
              </c:tx>
              <c:showLegendKey val="0"/>
              <c:showVal val="1"/>
              <c:showCatName val="0"/>
              <c:showSerName val="0"/>
              <c:showPercent val="0"/>
              <c:showBubbleSize val="0"/>
            </c:dLbl>
            <c:dLbl>
              <c:idx val="2"/>
              <c:tx>
                <c:rich>
                  <a:bodyPr/>
                  <a:lstStyle/>
                  <a:p>
                    <a:r>
                      <a:rPr>
                        <a:solidFill>
                          <a:srgbClr val="FFFFFF"/>
                        </a:solidFill>
                      </a:rPr>
                      <a:t>3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197678</c:v>
                </c:pt>
                <c:pt idx="1">
                  <c:v>48.135432</c:v>
                </c:pt>
                <c:pt idx="2">
                  <c:v>31.6574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5.3</a:t>
                    </a:r>
                  </a:p>
                </c:rich>
              </c:tx>
              <c:showLegendKey val="0"/>
              <c:showVal val="1"/>
              <c:showCatName val="0"/>
              <c:showSerName val="0"/>
              <c:showPercent val="0"/>
              <c:showBubbleSize val="0"/>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260714</c:v>
                </c:pt>
                <c:pt idx="1">
                  <c:v>16.868739</c:v>
                </c:pt>
                <c:pt idx="2">
                  <c:v>8.927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12.6</a:t>
                    </a:r>
                  </a:p>
                </c:rich>
              </c:tx>
              <c:showLegendKey val="0"/>
              <c:showVal val="1"/>
              <c:showCatName val="0"/>
              <c:showSerName val="0"/>
              <c:showPercent val="0"/>
              <c:showBubbleSize val="0"/>
            </c:dLbl>
            <c:dLbl>
              <c:idx val="1"/>
              <c:tx>
                <c:rich>
                  <a:bodyPr/>
                  <a:lstStyle/>
                  <a:p>
                    <a:r>
                      <a:rPr>
                        <a:solidFill>
                          <a:srgbClr val="FFFFFF"/>
                        </a:solidFill>
                      </a:rPr>
                      <a:t>13.0</a:t>
                    </a:r>
                  </a:p>
                </c:rich>
              </c:tx>
              <c:showLegendKey val="0"/>
              <c:showVal val="1"/>
              <c:showCatName val="0"/>
              <c:showSerName val="0"/>
              <c:showPercent val="0"/>
              <c:showBubbleSize val="0"/>
            </c:dLbl>
            <c:dLbl>
              <c:idx val="2"/>
              <c:tx>
                <c:rich>
                  <a:bodyPr/>
                  <a:lstStyle/>
                  <a:p>
                    <a:r>
                      <a:rPr>
                        <a:solidFill>
                          <a:srgbClr val="FFFFFF"/>
                        </a:solidFill>
                      </a:rPr>
                      <a:t>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557955</c:v>
                </c:pt>
                <c:pt idx="1">
                  <c:v>13.002054</c:v>
                </c:pt>
                <c:pt idx="2">
                  <c:v>7.94965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3.1</a:t>
                    </a:r>
                  </a:p>
                </c:rich>
              </c:tx>
              <c:showLegendKey val="0"/>
              <c:showVal val="1"/>
              <c:showCatName val="0"/>
              <c:showSerName val="0"/>
              <c:showPercent val="0"/>
              <c:showBubbleSize val="0"/>
            </c:dLbl>
            <c:dLbl>
              <c:idx val="1"/>
              <c:tx>
                <c:rich>
                  <a:bodyPr/>
                  <a:lstStyle/>
                  <a:p>
                    <a:r>
                      <a:rPr>
                        <a:solidFill>
                          <a:srgbClr val="FFFFFF"/>
                        </a:solidFill>
                      </a:rPr>
                      <a:t>24.6</a:t>
                    </a:r>
                  </a:p>
                </c:rich>
              </c:tx>
              <c:showLegendKey val="0"/>
              <c:showVal val="1"/>
              <c:showCatName val="0"/>
              <c:showSerName val="0"/>
              <c:showPercent val="0"/>
              <c:showBubbleSize val="0"/>
            </c:dLbl>
            <c:dLbl>
              <c:idx val="2"/>
              <c:tx>
                <c:rich>
                  <a:bodyPr/>
                  <a:lstStyle/>
                  <a:p>
                    <a:r>
                      <a:rPr>
                        <a:solidFill>
                          <a:srgbClr val="FFFFFF"/>
                        </a:solidFill>
                      </a:rPr>
                      <a:t>1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088277</c:v>
                </c:pt>
                <c:pt idx="1">
                  <c:v>24.581069</c:v>
                </c:pt>
                <c:pt idx="2">
                  <c:v>17.37687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23842</c:v>
                </c:pt>
                <c:pt idx="1">
                  <c:v>3.375779</c:v>
                </c:pt>
                <c:pt idx="2">
                  <c:v>2.3418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9077</c:v>
                </c:pt>
                <c:pt idx="1">
                  <c:v>1.956395</c:v>
                </c:pt>
                <c:pt idx="2">
                  <c:v>1.031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42575</c:v>
                </c:pt>
                <c:pt idx="1">
                  <c:v>0.962795</c:v>
                </c:pt>
                <c:pt idx="2">
                  <c:v>0.53672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873454</c:v>
                </c:pt>
                <c:pt idx="1">
                  <c:v>1.184098</c:v>
                </c:pt>
                <c:pt idx="2">
                  <c:v>0.8717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avencia</c:v>
                </c:pt>
              </c:strCache>
            </c:strRef>
          </c:tx>
          <c:spPr>
            <a:solidFill>
              <a:srgbClr val="AEABAB"/>
            </a:solidFill>
            <a:ln>
              <a:solidFill>
                <a:schemeClr val="bg1"/>
              </a:solidFill>
            </a:ln>
            <a:effectLst/>
          </c:spPr>
          <c:invertIfNegative val="0"/>
          <c:dLbls>
            <c:dLbl>
              <c:idx val="0"/>
              <c:tx>
                <c:rich>
                  <a:bodyPr/>
                  <a:lstStyle/>
                  <a:p>
                    <a:r>
                      <a:rPr>
                        <a:solidFill>
                          <a:srgbClr val="FFFFFF"/>
                        </a:solidFill>
                      </a:rPr>
                      <a:t>41.9</a:t>
                    </a:r>
                  </a:p>
                </c:rich>
              </c:tx>
              <c:showLegendKey val="0"/>
              <c:showVal val="1"/>
              <c:showCatName val="0"/>
              <c:showSerName val="0"/>
              <c:showPercent val="0"/>
              <c:showBubbleSize val="0"/>
            </c:dLbl>
            <c:dLbl>
              <c:idx val="1"/>
              <c:tx>
                <c:rich>
                  <a:bodyPr/>
                  <a:lstStyle/>
                  <a:p>
                    <a:r>
                      <a:rPr>
                        <a:solidFill>
                          <a:srgbClr val="FFFFFF"/>
                        </a:solidFill>
                      </a:rPr>
                      <a:t>43.3</a:t>
                    </a:r>
                  </a:p>
                </c:rich>
              </c:tx>
              <c:showLegendKey val="0"/>
              <c:showVal val="1"/>
              <c:showCatName val="0"/>
              <c:showSerName val="0"/>
              <c:showPercent val="0"/>
              <c:showBubbleSize val="0"/>
            </c:dLbl>
            <c:dLbl>
              <c:idx val="2"/>
              <c:tx>
                <c:rich>
                  <a:bodyPr/>
                  <a:lstStyle/>
                  <a:p>
                    <a:r>
                      <a:rPr>
                        <a:solidFill>
                          <a:srgbClr val="FFFFFF"/>
                        </a:solidFill>
                      </a:rPr>
                      <a:t>3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1.94994</c:v>
                </c:pt>
                <c:pt idx="1">
                  <c:v>43.28765</c:v>
                </c:pt>
                <c:pt idx="2">
                  <c:v>30.00466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dd</c:v>
                </c:pt>
              </c:strCache>
            </c:strRef>
          </c:tx>
          <c:spPr>
            <a:solidFill>
              <a:srgbClr val="A6A6A6"/>
            </a:solidFill>
            <a:ln>
              <a:solidFill>
                <a:schemeClr val="bg1"/>
              </a:solidFill>
            </a:ln>
            <a:effectLst/>
          </c:spPr>
          <c:invertIfNegative val="0"/>
          <c:dLbls>
            <c:dLbl>
              <c:idx val="0"/>
              <c:tx>
                <c:rich>
                  <a:bodyPr/>
                  <a:lstStyle/>
                  <a:p>
                    <a:r>
                      <a:rPr>
                        <a:solidFill>
                          <a:srgbClr val="FFFFFF"/>
                        </a:solidFill>
                      </a:rPr>
                      <a:t>13.1</a:t>
                    </a:r>
                  </a:p>
                </c:rich>
              </c:tx>
              <c:showLegendKey val="0"/>
              <c:showVal val="1"/>
              <c:showCatName val="0"/>
              <c:showSerName val="0"/>
              <c:showPercent val="0"/>
              <c:showBubbleSize val="0"/>
            </c:dLbl>
            <c:dLbl>
              <c:idx val="1"/>
              <c:tx>
                <c:rich>
                  <a:bodyPr/>
                  <a:lstStyle/>
                  <a:p>
                    <a:r>
                      <a:rPr>
                        <a:solidFill>
                          <a:srgbClr val="FFFFFF"/>
                        </a:solidFill>
                      </a:rPr>
                      <a:t>15.4</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098208</c:v>
                </c:pt>
                <c:pt idx="1">
                  <c:v>15.412392</c:v>
                </c:pt>
                <c:pt idx="2">
                  <c:v>8.1976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12.2</a:t>
                    </a:r>
                  </a:p>
                </c:rich>
              </c:tx>
              <c:showLegendKey val="0"/>
              <c:showVal val="1"/>
              <c:showCatName val="0"/>
              <c:showSerName val="0"/>
              <c:showPercent val="0"/>
              <c:showBubbleSize val="0"/>
            </c:dLbl>
            <c:dLbl>
              <c:idx val="1"/>
              <c:tx>
                <c:rich>
                  <a:bodyPr/>
                  <a:lstStyle/>
                  <a:p>
                    <a:r>
                      <a:rPr>
                        <a:solidFill>
                          <a:srgbClr val="FFFFFF"/>
                        </a:solidFill>
                      </a:rPr>
                      <a:t>14.2</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232446</c:v>
                </c:pt>
                <c:pt idx="1">
                  <c:v>14.23271</c:v>
                </c:pt>
                <c:pt idx="2">
                  <c:v>8.21319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0.0</a:t>
                    </a:r>
                  </a:p>
                </c:rich>
              </c:tx>
              <c:showLegendKey val="0"/>
              <c:showVal val="1"/>
              <c:showCatName val="0"/>
              <c:showSerName val="0"/>
              <c:showPercent val="0"/>
              <c:showBubbleSize val="0"/>
            </c:dLbl>
            <c:dLbl>
              <c:idx val="1"/>
              <c:tx>
                <c:rich>
                  <a:bodyPr/>
                  <a:lstStyle/>
                  <a:p>
                    <a:r>
                      <a:rPr>
                        <a:solidFill>
                          <a:srgbClr val="FFFFFF"/>
                        </a:solidFill>
                      </a:rPr>
                      <a:t>13.7</a:t>
                    </a:r>
                  </a:p>
                </c:rich>
              </c:tx>
              <c:showLegendKey val="0"/>
              <c:showVal val="1"/>
              <c:showCatName val="0"/>
              <c:showSerName val="0"/>
              <c:showPercent val="0"/>
              <c:showBubbleSize val="0"/>
            </c:dLbl>
            <c:dLbl>
              <c:idx val="2"/>
              <c:tx>
                <c:rich>
                  <a:bodyPr/>
                  <a:lstStyle/>
                  <a:p>
                    <a:r>
                      <a:rPr>
                        <a:solidFill>
                          <a:srgbClr val="FFFFFF"/>
                        </a:solidFill>
                      </a:rPr>
                      <a:t>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977572</c:v>
                </c:pt>
                <c:pt idx="1">
                  <c:v>13.677863</c:v>
                </c:pt>
                <c:pt idx="2">
                  <c:v>9.9266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8</a:t>
                    </a:r>
                  </a:p>
                </c:rich>
              </c:tx>
              <c:showLegendKey val="0"/>
              <c:showVal val="1"/>
              <c:showCatName val="0"/>
              <c:showSerName val="0"/>
              <c:showPercent val="0"/>
              <c:showBubbleSize val="0"/>
            </c:dLbl>
            <c:dLbl>
              <c:idx val="2"/>
              <c:tx>
                <c:rich>
                  <a:bodyPr/>
                  <a:lstStyle/>
                  <a:p>
                    <a:r>
                      <a:rPr>
                        <a:solidFill>
                          <a:srgbClr val="FFFFFF"/>
                        </a:solidFill>
                      </a:rPr>
                      <a:t>3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6.208681</c:v>
                </c:pt>
                <c:pt idx="1">
                  <c:v>50.757236</c:v>
                </c:pt>
                <c:pt idx="2">
                  <c:v>36.1606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2</a:t>
                    </a:r>
                  </a:p>
                </c:rich>
              </c:tx>
              <c:showLegendKey val="0"/>
              <c:showVal val="1"/>
              <c:showCatName val="0"/>
              <c:showSerName val="0"/>
              <c:showPercent val="0"/>
              <c:showBubbleSize val="0"/>
            </c:dLbl>
            <c:dLbl>
              <c:idx val="2"/>
              <c:tx>
                <c:rich>
                  <a:bodyPr/>
                  <a:lstStyle/>
                  <a:p>
                    <a:r>
                      <a:rPr>
                        <a:solidFill>
                          <a:srgbClr val="FFFFFF"/>
                        </a:solidFill>
                      </a:rPr>
                      <a:t>1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951117</c:v>
                </c:pt>
                <c:pt idx="1">
                  <c:v>14.186792</c:v>
                </c:pt>
                <c:pt idx="2">
                  <c:v>9.9847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94086</c:v>
                </c:pt>
                <c:pt idx="1">
                  <c:v>0.691792</c:v>
                </c:pt>
                <c:pt idx="2">
                  <c:v>0.37904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8.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276879</c:v>
                </c:pt>
                <c:pt idx="1">
                  <c:v>10.570202</c:v>
                </c:pt>
                <c:pt idx="2">
                  <c:v>8.1231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497.6</a:t>
                    </a:r>
                  </a:p>
                </c:rich>
              </c:tx>
              <c:showLegendKey val="0"/>
              <c:showVal val="1"/>
              <c:showCatName val="0"/>
              <c:showSerName val="0"/>
              <c:showPercent val="0"/>
              <c:showBubbleSize val="0"/>
            </c:dLbl>
            <c:dLbl>
              <c:idx val="1"/>
              <c:tx>
                <c:rich>
                  <a:bodyPr/>
                  <a:lstStyle/>
                  <a:p>
                    <a:r>
                      <a:rPr>
                        <a:solidFill>
                          <a:srgbClr val="FFFFFF"/>
                        </a:solidFill>
                      </a:rPr>
                      <a:t>560.6</a:t>
                    </a:r>
                  </a:p>
                </c:rich>
              </c:tx>
              <c:showLegendKey val="0"/>
              <c:showVal val="1"/>
              <c:showCatName val="0"/>
              <c:showSerName val="0"/>
              <c:showPercent val="0"/>
              <c:showBubbleSize val="0"/>
            </c:dLbl>
            <c:dLbl>
              <c:idx val="2"/>
              <c:tx>
                <c:rich>
                  <a:bodyPr/>
                  <a:lstStyle/>
                  <a:p>
                    <a:r>
                      <a:rPr>
                        <a:solidFill>
                          <a:srgbClr val="FFFFFF"/>
                        </a:solidFill>
                      </a:rPr>
                      <a:t>40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97.637072</c:v>
                </c:pt>
                <c:pt idx="1">
                  <c:v>560.578505</c:v>
                </c:pt>
                <c:pt idx="2">
                  <c:v>408.2116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188.9</a:t>
                    </a:r>
                  </a:p>
                </c:rich>
              </c:tx>
              <c:showLegendKey val="0"/>
              <c:showVal val="1"/>
              <c:showCatName val="0"/>
              <c:showSerName val="0"/>
              <c:showPercent val="0"/>
              <c:showBubbleSize val="0"/>
            </c:dLbl>
            <c:dLbl>
              <c:idx val="1"/>
              <c:tx>
                <c:rich>
                  <a:bodyPr/>
                  <a:lstStyle/>
                  <a:p>
                    <a:r>
                      <a:rPr>
                        <a:solidFill>
                          <a:srgbClr val="FFFFFF"/>
                        </a:solidFill>
                      </a:rPr>
                      <a:t>180.1</a:t>
                    </a:r>
                  </a:p>
                </c:rich>
              </c:tx>
              <c:showLegendKey val="0"/>
              <c:showVal val="1"/>
              <c:showCatName val="0"/>
              <c:showSerName val="0"/>
              <c:showPercent val="0"/>
              <c:showBubbleSize val="0"/>
            </c:dLbl>
            <c:dLbl>
              <c:idx val="2"/>
              <c:tx>
                <c:rich>
                  <a:bodyPr/>
                  <a:lstStyle/>
                  <a:p>
                    <a:r>
                      <a:rPr>
                        <a:solidFill>
                          <a:srgbClr val="FFFFFF"/>
                        </a:solidFill>
                      </a:rPr>
                      <a:t>13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8.914223</c:v>
                </c:pt>
                <c:pt idx="1">
                  <c:v>180.051464</c:v>
                </c:pt>
                <c:pt idx="2">
                  <c:v>130.50114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12.9</a:t>
                    </a:r>
                  </a:p>
                </c:rich>
              </c:tx>
              <c:showLegendKey val="0"/>
              <c:showVal val="1"/>
              <c:showCatName val="0"/>
              <c:showSerName val="0"/>
              <c:showPercent val="0"/>
              <c:showBubbleSize val="0"/>
            </c:dLbl>
            <c:dLbl>
              <c:idx val="1"/>
              <c:tx>
                <c:rich>
                  <a:bodyPr/>
                  <a:lstStyle/>
                  <a:p>
                    <a:r>
                      <a:rPr>
                        <a:solidFill>
                          <a:srgbClr val="FFFFFF"/>
                        </a:solidFill>
                      </a:rPr>
                      <a:t>12.7</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872751</c:v>
                </c:pt>
                <c:pt idx="1">
                  <c:v>12.678959</c:v>
                </c:pt>
                <c:pt idx="2">
                  <c:v>7.1651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61.1</a:t>
                    </a:r>
                  </a:p>
                </c:rich>
              </c:tx>
              <c:showLegendKey val="0"/>
              <c:showVal val="1"/>
              <c:showCatName val="0"/>
              <c:showSerName val="0"/>
              <c:showPercent val="0"/>
              <c:showBubbleSize val="0"/>
            </c:dLbl>
            <c:dLbl>
              <c:idx val="1"/>
              <c:tx>
                <c:rich>
                  <a:bodyPr/>
                  <a:lstStyle/>
                  <a:p>
                    <a:r>
                      <a:rPr>
                        <a:solidFill>
                          <a:srgbClr val="FFFFFF"/>
                        </a:solidFill>
                      </a:rPr>
                      <a:t>169.8</a:t>
                    </a:r>
                  </a:p>
                </c:rich>
              </c:tx>
              <c:showLegendKey val="0"/>
              <c:showVal val="1"/>
              <c:showCatName val="0"/>
              <c:showSerName val="0"/>
              <c:showPercent val="0"/>
              <c:showBubbleSize val="0"/>
            </c:dLbl>
            <c:dLbl>
              <c:idx val="2"/>
              <c:tx>
                <c:rich>
                  <a:bodyPr/>
                  <a:lstStyle/>
                  <a:p>
                    <a:r>
                      <a:rPr>
                        <a:solidFill>
                          <a:srgbClr val="FFFFFF"/>
                        </a:solidFill>
                      </a:rPr>
                      <a:t>13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1.09493</c:v>
                </c:pt>
                <c:pt idx="1">
                  <c:v>169.763663</c:v>
                </c:pt>
                <c:pt idx="2">
                  <c:v>134.7144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812837</c:v>
                </c:pt>
                <c:pt idx="1">
                  <c:v>8.153381</c:v>
                </c:pt>
                <c:pt idx="2">
                  <c:v>5.6078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556357</c:v>
                </c:pt>
                <c:pt idx="1">
                  <c:v>2.349388</c:v>
                </c:pt>
                <c:pt idx="2">
                  <c:v>1.6748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1746</c:v>
                </c:pt>
                <c:pt idx="1">
                  <c:v>0.160151</c:v>
                </c:pt>
                <c:pt idx="2">
                  <c:v>0.1061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53162</c:v>
                </c:pt>
                <c:pt idx="1">
                  <c:v>2.083802</c:v>
                </c:pt>
                <c:pt idx="2">
                  <c:v>1.73825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739.2</a:t>
                    </a:r>
                  </a:p>
                </c:rich>
              </c:tx>
              <c:showLegendKey val="0"/>
              <c:showVal val="1"/>
              <c:showCatName val="0"/>
              <c:showSerName val="0"/>
              <c:showPercent val="0"/>
              <c:showBubbleSize val="0"/>
            </c:dLbl>
            <c:dLbl>
              <c:idx val="1"/>
              <c:tx>
                <c:rich>
                  <a:bodyPr/>
                  <a:lstStyle/>
                  <a:p>
                    <a:r>
                      <a:rPr>
                        <a:solidFill>
                          <a:srgbClr val="FFFFFF"/>
                        </a:solidFill>
                      </a:rPr>
                      <a:t>750.9</a:t>
                    </a:r>
                  </a:p>
                </c:rich>
              </c:tx>
              <c:showLegendKey val="0"/>
              <c:showVal val="1"/>
              <c:showCatName val="0"/>
              <c:showSerName val="0"/>
              <c:showPercent val="0"/>
              <c:showBubbleSize val="0"/>
            </c:dLbl>
            <c:dLbl>
              <c:idx val="2"/>
              <c:tx>
                <c:rich>
                  <a:bodyPr/>
                  <a:lstStyle/>
                  <a:p>
                    <a:r>
                      <a:rPr>
                        <a:solidFill>
                          <a:srgbClr val="FFFFFF"/>
                        </a:solidFill>
                      </a:rPr>
                      <a:t>16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39.197316</c:v>
                </c:pt>
                <c:pt idx="1">
                  <c:v>750.875405</c:v>
                </c:pt>
                <c:pt idx="2">
                  <c:v>162.4851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244.6</a:t>
                    </a:r>
                  </a:p>
                </c:rich>
              </c:tx>
              <c:showLegendKey val="0"/>
              <c:showVal val="1"/>
              <c:showCatName val="0"/>
              <c:showSerName val="0"/>
              <c:showPercent val="0"/>
              <c:showBubbleSize val="0"/>
            </c:dLbl>
            <c:dLbl>
              <c:idx val="1"/>
              <c:tx>
                <c:rich>
                  <a:bodyPr/>
                  <a:lstStyle/>
                  <a:p>
                    <a:r>
                      <a:rPr>
                        <a:solidFill>
                          <a:srgbClr val="FFFFFF"/>
                        </a:solidFill>
                      </a:rPr>
                      <a:t>240.5</a:t>
                    </a:r>
                  </a:p>
                </c:rich>
              </c:tx>
              <c:showLegendKey val="0"/>
              <c:showVal val="1"/>
              <c:showCatName val="0"/>
              <c:showSerName val="0"/>
              <c:showPercent val="0"/>
              <c:showBubbleSize val="0"/>
            </c:dLbl>
            <c:dLbl>
              <c:idx val="2"/>
              <c:tx>
                <c:rich>
                  <a:bodyPr/>
                  <a:lstStyle/>
                  <a:p>
                    <a:r>
                      <a:rPr>
                        <a:solidFill>
                          <a:srgbClr val="FFFFFF"/>
                        </a:solidFill>
                      </a:rPr>
                      <a:t>6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4.608625</c:v>
                </c:pt>
                <c:pt idx="1">
                  <c:v>240.504724</c:v>
                </c:pt>
                <c:pt idx="2">
                  <c:v>61.6749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a:solidFill>
                          <a:srgbClr val="FFFFFF"/>
                        </a:solidFill>
                      </a:rPr>
                      <a:t>201.5</a:t>
                    </a:r>
                  </a:p>
                </c:rich>
              </c:tx>
              <c:showLegendKey val="0"/>
              <c:showVal val="1"/>
              <c:showCatName val="0"/>
              <c:showSerName val="0"/>
              <c:showPercent val="0"/>
              <c:showBubbleSize val="0"/>
            </c:dLbl>
            <c:dLbl>
              <c:idx val="1"/>
              <c:tx>
                <c:rich>
                  <a:bodyPr/>
                  <a:lstStyle/>
                  <a:p>
                    <a:r>
                      <a:rPr>
                        <a:solidFill>
                          <a:srgbClr val="FFFFFF"/>
                        </a:solidFill>
                      </a:rPr>
                      <a:t>202.8</a:t>
                    </a:r>
                  </a:p>
                </c:rich>
              </c:tx>
              <c:showLegendKey val="0"/>
              <c:showVal val="1"/>
              <c:showCatName val="0"/>
              <c:showSerName val="0"/>
              <c:showPercent val="0"/>
              <c:showBubbleSize val="0"/>
            </c:dLbl>
            <c:dLbl>
              <c:idx val="2"/>
              <c:tx>
                <c:rich>
                  <a:bodyPr/>
                  <a:lstStyle/>
                  <a:p>
                    <a:r>
                      <a:rPr>
                        <a:solidFill>
                          <a:srgbClr val="FFFFFF"/>
                        </a:solidFill>
                      </a:rPr>
                      <a:t>8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01.48748</c:v>
                </c:pt>
                <c:pt idx="1">
                  <c:v>202.810612</c:v>
                </c:pt>
                <c:pt idx="2">
                  <c:v>88.82008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125.7</a:t>
                    </a:r>
                  </a:p>
                </c:rich>
              </c:tx>
              <c:showLegendKey val="0"/>
              <c:showVal val="1"/>
              <c:showCatName val="0"/>
              <c:showSerName val="0"/>
              <c:showPercent val="0"/>
              <c:showBubbleSize val="0"/>
            </c:dLbl>
            <c:dLbl>
              <c:idx val="1"/>
              <c:tx>
                <c:rich>
                  <a:bodyPr/>
                  <a:lstStyle/>
                  <a:p>
                    <a:r>
                      <a:rPr>
                        <a:solidFill>
                          <a:srgbClr val="FFFFFF"/>
                        </a:solidFill>
                      </a:rPr>
                      <a:t>128.0</a:t>
                    </a:r>
                  </a:p>
                </c:rich>
              </c:tx>
              <c:showLegendKey val="0"/>
              <c:showVal val="1"/>
              <c:showCatName val="0"/>
              <c:showSerName val="0"/>
              <c:showPercent val="0"/>
              <c:showBubbleSize val="0"/>
            </c:dLbl>
            <c:dLbl>
              <c:idx val="2"/>
              <c:tx>
                <c:rich>
                  <a:bodyPr/>
                  <a:lstStyle/>
                  <a:p>
                    <a:r>
                      <a:rPr>
                        <a:solidFill>
                          <a:srgbClr val="FFFFFF"/>
                        </a:solidFill>
                      </a:rPr>
                      <a:t>7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5.739412</c:v>
                </c:pt>
                <c:pt idx="1">
                  <c:v>128.016262</c:v>
                </c:pt>
                <c:pt idx="2">
                  <c:v>70.74577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45.4</a:t>
                    </a:r>
                  </a:p>
                </c:rich>
              </c:tx>
              <c:showLegendKey val="0"/>
              <c:showVal val="1"/>
              <c:showCatName val="0"/>
              <c:showSerName val="0"/>
              <c:showPercent val="0"/>
              <c:showBubbleSize val="0"/>
            </c:dLbl>
            <c:dLbl>
              <c:idx val="1"/>
              <c:tx>
                <c:rich>
                  <a:bodyPr/>
                  <a:lstStyle/>
                  <a:p>
                    <a:r>
                      <a:rPr>
                        <a:solidFill>
                          <a:srgbClr val="FFFFFF"/>
                        </a:solidFill>
                      </a:rPr>
                      <a:t>44.8</a:t>
                    </a:r>
                  </a:p>
                </c:rich>
              </c:tx>
              <c:showLegendKey val="0"/>
              <c:showVal val="1"/>
              <c:showCatName val="0"/>
              <c:showSerName val="0"/>
              <c:showPercent val="0"/>
              <c:showBubbleSize val="0"/>
            </c:dLbl>
            <c:dLbl>
              <c:idx val="2"/>
              <c:tx>
                <c:rich>
                  <a:bodyPr/>
                  <a:lstStyle/>
                  <a:p>
                    <a:r>
                      <a:rPr>
                        <a:solidFill>
                          <a:srgbClr val="FFFFFF"/>
                        </a:solidFill>
                      </a:rPr>
                      <a:t>2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45.405494</c:v>
                </c:pt>
                <c:pt idx="1">
                  <c:v>44.758408</c:v>
                </c:pt>
                <c:pt idx="2">
                  <c:v>21.0044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ntremont</c:v>
                </c:pt>
              </c:strCache>
            </c:strRef>
          </c:tx>
          <c:spPr>
            <a:solidFill>
              <a:srgbClr val="575555"/>
            </a:solidFill>
            <a:ln>
              <a:solidFill>
                <a:schemeClr val="bg1"/>
              </a:solidFill>
            </a:ln>
            <a:effectLst/>
          </c:spPr>
          <c:invertIfNegative val="0"/>
          <c:dLbls>
            <c:dLbl>
              <c:idx val="0"/>
              <c:tx>
                <c:rich>
                  <a:bodyPr/>
                  <a:lstStyle/>
                  <a:p>
                    <a:r>
                      <a:rPr>
                        <a:solidFill>
                          <a:srgbClr val="FFFFFF"/>
                        </a:solidFill>
                      </a:rPr>
                      <a:t>52.7</a:t>
                    </a:r>
                  </a:p>
                </c:rich>
              </c:tx>
              <c:showLegendKey val="0"/>
              <c:showVal val="1"/>
              <c:showCatName val="0"/>
              <c:showSerName val="0"/>
              <c:showPercent val="0"/>
              <c:showBubbleSize val="0"/>
            </c:dLbl>
            <c:dLbl>
              <c:idx val="1"/>
              <c:tx>
                <c:rich>
                  <a:bodyPr/>
                  <a:lstStyle/>
                  <a:p>
                    <a:r>
                      <a:rPr>
                        <a:solidFill>
                          <a:srgbClr val="FFFFFF"/>
                        </a:solidFill>
                      </a:rPr>
                      <a:t>50.1</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2.706011</c:v>
                </c:pt>
                <c:pt idx="1">
                  <c:v>50.094536</c:v>
                </c:pt>
                <c:pt idx="2">
                  <c:v>1.00482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tx>
                <c:rich>
                  <a:bodyPr/>
                  <a:lstStyle/>
                  <a:p>
                    <a:r>
                      <a:rPr>
                        <a:solidFill>
                          <a:srgbClr val="FFFFFF"/>
                        </a:solidFill>
                      </a:rPr>
                      <a:t>24.1</a:t>
                    </a:r>
                  </a:p>
                </c:rich>
              </c:tx>
              <c:showLegendKey val="0"/>
              <c:showVal val="1"/>
              <c:showCatName val="0"/>
              <c:showSerName val="0"/>
              <c:showPercent val="0"/>
              <c:showBubbleSize val="0"/>
            </c:dLbl>
            <c:dLbl>
              <c:idx val="1"/>
              <c:tx>
                <c:rich>
                  <a:bodyPr/>
                  <a:lstStyle/>
                  <a:p>
                    <a:r>
                      <a:rPr>
                        <a:solidFill>
                          <a:srgbClr val="FFFFFF"/>
                        </a:solidFill>
                      </a:rPr>
                      <a:t>25.4</a:t>
                    </a:r>
                  </a:p>
                </c:rich>
              </c:tx>
              <c:showLegendKey val="0"/>
              <c:showVal val="1"/>
              <c:showCatName val="0"/>
              <c:showSerName val="0"/>
              <c:showPercent val="0"/>
              <c:showBubbleSize val="0"/>
            </c:dLbl>
            <c:dLbl>
              <c:idx val="2"/>
              <c:tx>
                <c:rich>
                  <a:bodyPr/>
                  <a:lstStyle/>
                  <a:p>
                    <a:r>
                      <a:rPr>
                        <a:solidFill>
                          <a:srgbClr val="FFFFFF"/>
                        </a:solidFill>
                      </a:rPr>
                      <a:t>1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14976</c:v>
                </c:pt>
                <c:pt idx="1">
                  <c:v>25.400278</c:v>
                </c:pt>
                <c:pt idx="2">
                  <c:v>11.03859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Laita</c:v>
                </c:pt>
              </c:strCache>
            </c:strRef>
          </c:tx>
          <c:spPr>
            <a:solidFill>
              <a:srgbClr val="575555"/>
            </a:solidFill>
            <a:ln>
              <a:solidFill>
                <a:schemeClr val="bg1"/>
              </a:solidFill>
            </a:ln>
            <a:effectLst/>
          </c:spPr>
          <c:invertIfNegative val="0"/>
          <c:dLbls>
            <c:dLbl>
              <c:idx val="0"/>
              <c:tx>
                <c:rich>
                  <a:bodyPr/>
                  <a:lstStyle/>
                  <a:p>
                    <a:r>
                      <a:rPr>
                        <a:solidFill>
                          <a:srgbClr val="FFFFFF"/>
                        </a:solidFill>
                      </a:rPr>
                      <a:t>13.6</a:t>
                    </a:r>
                  </a:p>
                </c:rich>
              </c:tx>
              <c:showLegendKey val="0"/>
              <c:showVal val="1"/>
              <c:showCatName val="0"/>
              <c:showSerName val="0"/>
              <c:showPercent val="0"/>
              <c:showBubbleSize val="0"/>
            </c:dLbl>
            <c:dLbl>
              <c:idx val="1"/>
              <c:tx>
                <c:rich>
                  <a:bodyPr/>
                  <a:lstStyle/>
                  <a:p>
                    <a:r>
                      <a:rPr>
                        <a:solidFill>
                          <a:srgbClr val="FFFFFF"/>
                        </a:solidFill>
                      </a:rPr>
                      <a:t>15.5</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615779</c:v>
                </c:pt>
                <c:pt idx="1">
                  <c:v>15.523268</c:v>
                </c:pt>
                <c:pt idx="2">
                  <c:v>10.48465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92.1</a:t>
                    </a:r>
                  </a:p>
                </c:rich>
              </c:tx>
              <c:showLegendKey val="0"/>
              <c:showVal val="1"/>
              <c:showCatName val="0"/>
              <c:showSerName val="0"/>
              <c:showPercent val="0"/>
              <c:showBubbleSize val="0"/>
            </c:dLbl>
            <c:dLbl>
              <c:idx val="1"/>
              <c:tx>
                <c:rich>
                  <a:bodyPr/>
                  <a:lstStyle/>
                  <a:p>
                    <a:r>
                      <a:rPr>
                        <a:solidFill>
                          <a:srgbClr val="FFFFFF"/>
                        </a:solidFill>
                      </a:rPr>
                      <a:t>198.4</a:t>
                    </a:r>
                  </a:p>
                </c:rich>
              </c:tx>
              <c:showLegendKey val="0"/>
              <c:showVal val="1"/>
              <c:showCatName val="0"/>
              <c:showSerName val="0"/>
              <c:showPercent val="0"/>
              <c:showBubbleSize val="0"/>
            </c:dLbl>
            <c:dLbl>
              <c:idx val="2"/>
              <c:tx>
                <c:rich>
                  <a:bodyPr/>
                  <a:lstStyle/>
                  <a:p>
                    <a:r>
                      <a:rPr>
                        <a:solidFill>
                          <a:srgbClr val="FFFFFF"/>
                        </a:solidFill>
                      </a:rPr>
                      <a:t>6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92.105254</c:v>
                </c:pt>
                <c:pt idx="1">
                  <c:v>198.416053</c:v>
                </c:pt>
                <c:pt idx="2">
                  <c:v>63.28391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92.7</a:t>
                    </a:r>
                  </a:p>
                </c:rich>
              </c:tx>
              <c:showLegendKey val="0"/>
              <c:showVal val="1"/>
              <c:showCatName val="0"/>
              <c:showSerName val="0"/>
              <c:showPercent val="0"/>
              <c:showBubbleSize val="0"/>
            </c:dLbl>
            <c:dLbl>
              <c:idx val="1"/>
              <c:tx>
                <c:rich>
                  <a:bodyPr/>
                  <a:lstStyle/>
                  <a:p>
                    <a:r>
                      <a:rPr>
                        <a:solidFill>
                          <a:srgbClr val="FFFFFF"/>
                        </a:solidFill>
                      </a:rPr>
                      <a:t>97.9</a:t>
                    </a:r>
                  </a:p>
                </c:rich>
              </c:tx>
              <c:showLegendKey val="0"/>
              <c:showVal val="1"/>
              <c:showCatName val="0"/>
              <c:showSerName val="0"/>
              <c:showPercent val="0"/>
              <c:showBubbleSize val="0"/>
            </c:dLbl>
            <c:dLbl>
              <c:idx val="2"/>
              <c:tx>
                <c:rich>
                  <a:bodyPr/>
                  <a:lstStyle/>
                  <a:p>
                    <a:r>
                      <a:rPr>
                        <a:solidFill>
                          <a:srgbClr val="FFFFFF"/>
                        </a:solidFill>
                      </a:rPr>
                      <a:t>6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2.7214</c:v>
                </c:pt>
                <c:pt idx="1">
                  <c:v>97.875775</c:v>
                </c:pt>
                <c:pt idx="2">
                  <c:v>69.0523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32.4</a:t>
                    </a:r>
                  </a:p>
                </c:rich>
              </c:tx>
              <c:showLegendKey val="0"/>
              <c:showVal val="1"/>
              <c:showCatName val="0"/>
              <c:showSerName val="0"/>
              <c:showPercent val="0"/>
              <c:showBubbleSize val="0"/>
            </c:dLbl>
            <c:dLbl>
              <c:idx val="1"/>
              <c:tx>
                <c:rich>
                  <a:bodyPr/>
                  <a:lstStyle/>
                  <a:p>
                    <a:r>
                      <a:rPr>
                        <a:solidFill>
                          <a:srgbClr val="FFFFFF"/>
                        </a:solidFill>
                      </a:rPr>
                      <a:t>30.0</a:t>
                    </a:r>
                  </a:p>
                </c:rich>
              </c:tx>
              <c:showLegendKey val="0"/>
              <c:showVal val="1"/>
              <c:showCatName val="0"/>
              <c:showSerName val="0"/>
              <c:showPercent val="0"/>
              <c:showBubbleSize val="0"/>
            </c:dLbl>
            <c:dLbl>
              <c:idx val="2"/>
              <c:tx>
                <c:rich>
                  <a:bodyPr/>
                  <a:lstStyle/>
                  <a:p>
                    <a:r>
                      <a:rPr>
                        <a:solidFill>
                          <a:srgbClr val="FFFFFF"/>
                        </a:solidFill>
                      </a:rPr>
                      <a:t>2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2.437021</c:v>
                </c:pt>
                <c:pt idx="1">
                  <c:v>30.049587</c:v>
                </c:pt>
                <c:pt idx="2">
                  <c:v>22.04031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117961</c:v>
                </c:pt>
                <c:pt idx="1">
                  <c:v>3.047124</c:v>
                </c:pt>
                <c:pt idx="2">
                  <c:v>1.9764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34.3</a:t>
                    </a:r>
                  </a:p>
                </c:rich>
              </c:tx>
              <c:showLegendKey val="0"/>
              <c:showVal val="1"/>
              <c:showCatName val="0"/>
              <c:showSerName val="0"/>
              <c:showPercent val="0"/>
              <c:showBubbleSize val="0"/>
            </c:dLbl>
            <c:dLbl>
              <c:idx val="1"/>
              <c:tx>
                <c:rich>
                  <a:bodyPr/>
                  <a:lstStyle/>
                  <a:p>
                    <a:r>
                      <a:rPr>
                        <a:solidFill>
                          <a:srgbClr val="FFFFFF"/>
                        </a:solidFill>
                      </a:rPr>
                      <a:t>34.9</a:t>
                    </a:r>
                  </a:p>
                </c:rich>
              </c:tx>
              <c:showLegendKey val="0"/>
              <c:showVal val="1"/>
              <c:showCatName val="0"/>
              <c:showSerName val="0"/>
              <c:showPercent val="0"/>
              <c:showBubbleSize val="0"/>
            </c:dLbl>
            <c:dLbl>
              <c:idx val="2"/>
              <c:tx>
                <c:rich>
                  <a:bodyPr/>
                  <a:lstStyle/>
                  <a:p>
                    <a:r>
                      <a:rPr>
                        <a:solidFill>
                          <a:srgbClr val="FFFFFF"/>
                        </a:solidFill>
                      </a:rPr>
                      <a:t>2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4.250148</c:v>
                </c:pt>
                <c:pt idx="1">
                  <c:v>34.871629</c:v>
                </c:pt>
                <c:pt idx="2">
                  <c:v>29.88213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72674</c:v>
                </c:pt>
                <c:pt idx="1">
                  <c:v>5.88947</c:v>
                </c:pt>
                <c:pt idx="2">
                  <c:v>4.2017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19291</c:v>
                </c:pt>
                <c:pt idx="1">
                  <c:v>2.269982</c:v>
                </c:pt>
                <c:pt idx="2">
                  <c:v>1.72243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617</c:v>
                </c:pt>
                <c:pt idx="1">
                  <c:v>0.098006</c:v>
                </c:pt>
                <c:pt idx="2">
                  <c:v>0.0522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615066</c:v>
                </c:pt>
                <c:pt idx="1">
                  <c:v>0.764551</c:v>
                </c:pt>
                <c:pt idx="2">
                  <c:v>0.68488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2.8</a:t>
                    </a:r>
                  </a:p>
                </c:rich>
              </c:tx>
              <c:showLegendKey val="0"/>
              <c:showVal val="1"/>
              <c:showCatName val="0"/>
              <c:showSerName val="0"/>
              <c:showPercent val="0"/>
              <c:showBubbleSize val="0"/>
            </c:dLbl>
            <c:dLbl>
              <c:idx val="1"/>
              <c:tx>
                <c:rich>
                  <a:bodyPr/>
                  <a:lstStyle/>
                  <a:p>
                    <a:r>
                      <a:rPr>
                        <a:solidFill>
                          <a:srgbClr val="FFFFFF"/>
                        </a:solidFill>
                      </a:rPr>
                      <a:t>61.4</a:t>
                    </a:r>
                  </a:p>
                </c:rich>
              </c:tx>
              <c:showLegendKey val="0"/>
              <c:showVal val="1"/>
              <c:showCatName val="0"/>
              <c:showSerName val="0"/>
              <c:showPercent val="0"/>
              <c:showBubbleSize val="0"/>
            </c:dLbl>
            <c:dLbl>
              <c:idx val="2"/>
              <c:tx>
                <c:rich>
                  <a:bodyPr/>
                  <a:lstStyle/>
                  <a:p>
                    <a:r>
                      <a:rPr>
                        <a:solidFill>
                          <a:srgbClr val="FFFFFF"/>
                        </a:solidFill>
                      </a:rPr>
                      <a:t>4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849614</c:v>
                </c:pt>
                <c:pt idx="1">
                  <c:v>61.380705</c:v>
                </c:pt>
                <c:pt idx="2">
                  <c:v>44.6308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27.0</a:t>
                    </a:r>
                  </a:p>
                </c:rich>
              </c:tx>
              <c:showLegendKey val="0"/>
              <c:showVal val="1"/>
              <c:showCatName val="0"/>
              <c:showSerName val="0"/>
              <c:showPercent val="0"/>
              <c:showBubbleSize val="0"/>
            </c:dLbl>
            <c:dLbl>
              <c:idx val="1"/>
              <c:tx>
                <c:rich>
                  <a:bodyPr/>
                  <a:lstStyle/>
                  <a:p>
                    <a:r>
                      <a:rPr>
                        <a:solidFill>
                          <a:srgbClr val="FFFFFF"/>
                        </a:solidFill>
                      </a:rPr>
                      <a:t>28.0</a:t>
                    </a:r>
                  </a:p>
                </c:rich>
              </c:tx>
              <c:showLegendKey val="0"/>
              <c:showVal val="1"/>
              <c:showCatName val="0"/>
              <c:showSerName val="0"/>
              <c:showPercent val="0"/>
              <c:showBubbleSize val="0"/>
            </c:dLbl>
            <c:dLbl>
              <c:idx val="2"/>
              <c:tx>
                <c:rich>
                  <a:bodyPr/>
                  <a:lstStyle/>
                  <a:p>
                    <a:r>
                      <a:rPr>
                        <a:solidFill>
                          <a:srgbClr val="FFFFFF"/>
                        </a:solidFill>
                      </a:rPr>
                      <a:t>2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7.042206</c:v>
                </c:pt>
                <c:pt idx="1">
                  <c:v>27.971431</c:v>
                </c:pt>
                <c:pt idx="2">
                  <c:v>22.8913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el</c:v>
                </c:pt>
              </c:strCache>
            </c:strRef>
          </c:tx>
          <c:spPr>
            <a:solidFill>
              <a:srgbClr val="00A097"/>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13976</c:v>
                </c:pt>
                <c:pt idx="1">
                  <c:v>1.862253</c:v>
                </c:pt>
                <c:pt idx="2">
                  <c:v>1.05164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12.5</a:t>
                    </a:r>
                  </a:p>
                </c:rich>
              </c:tx>
              <c:showLegendKey val="0"/>
              <c:showVal val="1"/>
              <c:showCatName val="0"/>
              <c:showSerName val="0"/>
              <c:showPercent val="0"/>
              <c:showBubbleSize val="0"/>
            </c:dLbl>
            <c:dLbl>
              <c:idx val="2"/>
              <c:tx>
                <c:rich>
                  <a:bodyPr/>
                  <a:lstStyle/>
                  <a:p>
                    <a:r>
                      <a:rPr>
                        <a:solidFill>
                          <a:srgbClr val="FFFFFF"/>
                        </a:solidFill>
                      </a:rPr>
                      <a:t>1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501783</c:v>
                </c:pt>
                <c:pt idx="1">
                  <c:v>12.514937</c:v>
                </c:pt>
                <c:pt idx="2">
                  <c:v>12.05153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5.5</a:t>
                    </a:r>
                  </a:p>
                </c:rich>
              </c:tx>
              <c:showLegendKey val="0"/>
              <c:showVal val="1"/>
              <c:showCatName val="0"/>
              <c:showSerName val="0"/>
              <c:showPercent val="0"/>
              <c:showBubbleSize val="0"/>
            </c:dLbl>
            <c:dLbl>
              <c:idx val="2"/>
              <c:tx>
                <c:rich>
                  <a:bodyPr/>
                  <a:lstStyle/>
                  <a:p>
                    <a:r>
                      <a:rPr>
                        <a:solidFill>
                          <a:srgbClr val="FFFFFF"/>
                        </a:solidFill>
                      </a:rPr>
                      <a:t>13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1.595496</c:v>
                </c:pt>
                <c:pt idx="1">
                  <c:v>495.514275</c:v>
                </c:pt>
                <c:pt idx="2">
                  <c:v>136.8271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2</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7.016105</c:v>
                </c:pt>
                <c:pt idx="1">
                  <c:v>58.185296</c:v>
                </c:pt>
                <c:pt idx="2">
                  <c:v>18.9063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4</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2.32905</c:v>
                </c:pt>
                <c:pt idx="1">
                  <c:v>22.41542</c:v>
                </c:pt>
                <c:pt idx="2">
                  <c:v>2.89751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1</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924678</c:v>
                </c:pt>
                <c:pt idx="1">
                  <c:v>18.063986</c:v>
                </c:pt>
                <c:pt idx="2">
                  <c:v>9.53923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717863</c:v>
                </c:pt>
                <c:pt idx="1">
                  <c:v>13.589044</c:v>
                </c:pt>
                <c:pt idx="2">
                  <c:v>9.25656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3.997161</c:v>
                </c:pt>
                <c:pt idx="1">
                  <c:v>13.915424</c:v>
                </c:pt>
                <c:pt idx="2">
                  <c:v>8.17428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9</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383333</c:v>
                </c:pt>
                <c:pt idx="1">
                  <c:v>14.906364</c:v>
                </c:pt>
                <c:pt idx="2">
                  <c:v>8.3487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5</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966116</c:v>
                </c:pt>
                <c:pt idx="1">
                  <c:v>8.470445</c:v>
                </c:pt>
                <c:pt idx="2">
                  <c:v>5.32937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6</a:t>
                    </a:r>
                  </a:p>
                </c:rich>
              </c:tx>
              <c:showLegendKey val="0"/>
              <c:showVal val="1"/>
              <c:showCatName val="0"/>
              <c:showSerName val="0"/>
              <c:showPercent val="0"/>
              <c:showBubbleSize val="0"/>
            </c:dLbl>
            <c:dLbl>
              <c:idx val="2"/>
              <c:tx>
                <c:rich>
                  <a:bodyPr/>
                  <a:lstStyle/>
                  <a:p>
                    <a:r>
                      <a:rPr>
                        <a:solidFill>
                          <a:srgbClr val="FFFFFF"/>
                        </a:solidFill>
                      </a:rPr>
                      <a:t>3.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6.541848</c:v>
                </c:pt>
                <c:pt idx="1">
                  <c:v>6.563239</c:v>
                </c:pt>
                <c:pt idx="2">
                  <c:v>3.3092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4.4</a:t>
                    </a:r>
                  </a:p>
                </c:rich>
              </c:tx>
              <c:showLegendKey val="0"/>
              <c:showVal val="1"/>
              <c:showCatName val="0"/>
              <c:showSerName val="0"/>
              <c:showPercent val="0"/>
              <c:showBubbleSize val="0"/>
            </c:dLbl>
            <c:dLbl>
              <c:idx val="2"/>
              <c:tx>
                <c:rich>
                  <a:bodyPr/>
                  <a:lstStyle/>
                  <a:p>
                    <a:r>
                      <a:rPr>
                        <a:solidFill>
                          <a:srgbClr val="FFFFFF"/>
                        </a:solidFill>
                      </a:rPr>
                      <a:t>83.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5.099627</c:v>
                </c:pt>
                <c:pt idx="1">
                  <c:v>234.407802</c:v>
                </c:pt>
                <c:pt idx="2">
                  <c:v>83.69804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4780.9</a:t>
                    </a:r>
                  </a:p>
                </c:rich>
              </c:tx>
              <c:showLegendKey val="0"/>
              <c:showVal val="1"/>
              <c:showCatName val="0"/>
              <c:showSerName val="0"/>
              <c:showPercent val="0"/>
              <c:showBubbleSize val="0"/>
            </c:dLbl>
            <c:dLbl>
              <c:idx val="1"/>
              <c:tx>
                <c:rich>
                  <a:bodyPr/>
                  <a:lstStyle/>
                  <a:p>
                    <a:r>
                      <a:rPr>
                        <a:solidFill>
                          <a:srgbClr val="FFFFFF"/>
                        </a:solidFill>
                      </a:rPr>
                      <a:t>5018.6</a:t>
                    </a:r>
                  </a:p>
                </c:rich>
              </c:tx>
              <c:showLegendKey val="0"/>
              <c:showVal val="1"/>
              <c:showCatName val="0"/>
              <c:showSerName val="0"/>
              <c:showPercent val="0"/>
              <c:showBubbleSize val="0"/>
            </c:dLbl>
            <c:dLbl>
              <c:idx val="2"/>
              <c:tx>
                <c:rich>
                  <a:bodyPr/>
                  <a:lstStyle/>
                  <a:p>
                    <a:r>
                      <a:rPr>
                        <a:solidFill>
                          <a:srgbClr val="FFFFFF"/>
                        </a:solidFill>
                      </a:rPr>
                      <a:t>133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80.905686</c:v>
                </c:pt>
                <c:pt idx="1">
                  <c:v>5018.627947</c:v>
                </c:pt>
                <c:pt idx="2">
                  <c:v>1330.9789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609.1</a:t>
                    </a:r>
                  </a:p>
                </c:rich>
              </c:tx>
              <c:showLegendKey val="0"/>
              <c:showVal val="1"/>
              <c:showCatName val="0"/>
              <c:showSerName val="0"/>
              <c:showPercent val="0"/>
              <c:showBubbleSize val="0"/>
            </c:dLbl>
            <c:dLbl>
              <c:idx val="1"/>
              <c:tx>
                <c:rich>
                  <a:bodyPr/>
                  <a:lstStyle/>
                  <a:p>
                    <a:r>
                      <a:rPr>
                        <a:solidFill>
                          <a:srgbClr val="FFFFFF"/>
                        </a:solidFill>
                      </a:rPr>
                      <a:t>619.5</a:t>
                    </a:r>
                  </a:p>
                </c:rich>
              </c:tx>
              <c:showLegendKey val="0"/>
              <c:showVal val="1"/>
              <c:showCatName val="0"/>
              <c:showSerName val="0"/>
              <c:showPercent val="0"/>
              <c:showBubbleSize val="0"/>
            </c:dLbl>
            <c:dLbl>
              <c:idx val="2"/>
              <c:tx>
                <c:rich>
                  <a:bodyPr/>
                  <a:lstStyle/>
                  <a:p>
                    <a:r>
                      <a:rPr>
                        <a:solidFill>
                          <a:srgbClr val="FFFFFF"/>
                        </a:solidFill>
                      </a:rPr>
                      <a:t>18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09.107963</c:v>
                </c:pt>
                <c:pt idx="1">
                  <c:v>619.492746</c:v>
                </c:pt>
                <c:pt idx="2">
                  <c:v>181.87589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a:solidFill>
                          <a:srgbClr val="FFFFFF"/>
                        </a:solidFill>
                      </a:rPr>
                      <a:t>325.0</a:t>
                    </a:r>
                  </a:p>
                </c:rich>
              </c:tx>
              <c:showLegendKey val="0"/>
              <c:showVal val="1"/>
              <c:showCatName val="0"/>
              <c:showSerName val="0"/>
              <c:showPercent val="0"/>
              <c:showBubbleSize val="0"/>
            </c:dLbl>
            <c:dLbl>
              <c:idx val="1"/>
              <c:tx>
                <c:rich>
                  <a:bodyPr/>
                  <a:lstStyle/>
                  <a:p>
                    <a:r>
                      <a:rPr>
                        <a:solidFill>
                          <a:srgbClr val="FFFFFF"/>
                        </a:solidFill>
                      </a:rPr>
                      <a:t>333.9</a:t>
                    </a:r>
                  </a:p>
                </c:rich>
              </c:tx>
              <c:showLegendKey val="0"/>
              <c:showVal val="1"/>
              <c:showCatName val="0"/>
              <c:showSerName val="0"/>
              <c:showPercent val="0"/>
              <c:showBubbleSize val="0"/>
            </c:dLbl>
            <c:dLbl>
              <c:idx val="2"/>
              <c:tx>
                <c:rich>
                  <a:bodyPr/>
                  <a:lstStyle/>
                  <a:p>
                    <a:r>
                      <a:rPr>
                        <a:solidFill>
                          <a:srgbClr val="FFFFFF"/>
                        </a:solidFill>
                      </a:rPr>
                      <a:t>4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24.977883</c:v>
                </c:pt>
                <c:pt idx="1">
                  <c:v>333.892813</c:v>
                </c:pt>
                <c:pt idx="2">
                  <c:v>43.15773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241.1</a:t>
                    </a:r>
                  </a:p>
                </c:rich>
              </c:tx>
              <c:showLegendKey val="0"/>
              <c:showVal val="1"/>
              <c:showCatName val="0"/>
              <c:showSerName val="0"/>
              <c:showPercent val="0"/>
              <c:showBubbleSize val="0"/>
            </c:dLbl>
            <c:dLbl>
              <c:idx val="1"/>
              <c:tx>
                <c:rich>
                  <a:bodyPr/>
                  <a:lstStyle/>
                  <a:p>
                    <a:r>
                      <a:rPr>
                        <a:solidFill>
                          <a:srgbClr val="FFFFFF"/>
                        </a:solidFill>
                      </a:rPr>
                      <a:t>230.4</a:t>
                    </a:r>
                  </a:p>
                </c:rich>
              </c:tx>
              <c:showLegendKey val="0"/>
              <c:showVal val="1"/>
              <c:showCatName val="0"/>
              <c:showSerName val="0"/>
              <c:showPercent val="0"/>
              <c:showBubbleSize val="0"/>
            </c:dLbl>
            <c:dLbl>
              <c:idx val="2"/>
              <c:tx>
                <c:rich>
                  <a:bodyPr/>
                  <a:lstStyle/>
                  <a:p>
                    <a:r>
                      <a:rPr>
                        <a:solidFill>
                          <a:srgbClr val="FFFFFF"/>
                        </a:solidFill>
                      </a:rPr>
                      <a:t>1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41.105261</c:v>
                </c:pt>
                <c:pt idx="1">
                  <c:v>230.365513</c:v>
                </c:pt>
                <c:pt idx="2">
                  <c:v>116.855407</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171.7</a:t>
                    </a:r>
                  </a:p>
                </c:rich>
              </c:tx>
              <c:showLegendKey val="0"/>
              <c:showVal val="1"/>
              <c:showCatName val="0"/>
              <c:showSerName val="0"/>
              <c:showPercent val="0"/>
              <c:showBubbleSize val="0"/>
            </c:dLbl>
            <c:dLbl>
              <c:idx val="1"/>
              <c:tx>
                <c:rich>
                  <a:bodyPr/>
                  <a:lstStyle/>
                  <a:p>
                    <a:r>
                      <a:rPr>
                        <a:solidFill>
                          <a:srgbClr val="FFFFFF"/>
                        </a:solidFill>
                      </a:rPr>
                      <a:t>181.8</a:t>
                    </a:r>
                  </a:p>
                </c:rich>
              </c:tx>
              <c:showLegendKey val="0"/>
              <c:showVal val="1"/>
              <c:showCatName val="0"/>
              <c:showSerName val="0"/>
              <c:showPercent val="0"/>
              <c:showBubbleSize val="0"/>
            </c:dLbl>
            <c:dLbl>
              <c:idx val="2"/>
              <c:tx>
                <c:rich>
                  <a:bodyPr/>
                  <a:lstStyle/>
                  <a:p>
                    <a:r>
                      <a:rPr>
                        <a:solidFill>
                          <a:srgbClr val="FFFFFF"/>
                        </a:solidFill>
                      </a:rPr>
                      <a:t>12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71.72949</c:v>
                </c:pt>
                <c:pt idx="1">
                  <c:v>181.750641</c:v>
                </c:pt>
                <c:pt idx="2">
                  <c:v>120.19149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180.2</a:t>
                    </a:r>
                  </a:p>
                </c:rich>
              </c:tx>
              <c:showLegendKey val="0"/>
              <c:showVal val="1"/>
              <c:showCatName val="0"/>
              <c:showSerName val="0"/>
              <c:showPercent val="0"/>
              <c:showBubbleSize val="0"/>
            </c:dLbl>
            <c:dLbl>
              <c:idx val="1"/>
              <c:tx>
                <c:rich>
                  <a:bodyPr/>
                  <a:lstStyle/>
                  <a:p>
                    <a:r>
                      <a:rPr>
                        <a:solidFill>
                          <a:srgbClr val="FFFFFF"/>
                        </a:solidFill>
                      </a:rPr>
                      <a:t>183.8</a:t>
                    </a:r>
                  </a:p>
                </c:rich>
              </c:tx>
              <c:showLegendKey val="0"/>
              <c:showVal val="1"/>
              <c:showCatName val="0"/>
              <c:showSerName val="0"/>
              <c:showPercent val="0"/>
              <c:showBubbleSize val="0"/>
            </c:dLbl>
            <c:dLbl>
              <c:idx val="2"/>
              <c:tx>
                <c:rich>
                  <a:bodyPr/>
                  <a:lstStyle/>
                  <a:p>
                    <a:r>
                      <a:rPr>
                        <a:solidFill>
                          <a:srgbClr val="FFFFFF"/>
                        </a:solidFill>
                      </a:rPr>
                      <a:t>10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80.204726</c:v>
                </c:pt>
                <c:pt idx="1">
                  <c:v>183.821452</c:v>
                </c:pt>
                <c:pt idx="2">
                  <c:v>108.57469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38.3</a:t>
                    </a:r>
                  </a:p>
                </c:rich>
              </c:tx>
              <c:showLegendKey val="0"/>
              <c:showVal val="1"/>
              <c:showCatName val="0"/>
              <c:showSerName val="0"/>
              <c:showPercent val="0"/>
              <c:showBubbleSize val="0"/>
            </c:dLbl>
            <c:dLbl>
              <c:idx val="1"/>
              <c:tx>
                <c:rich>
                  <a:bodyPr/>
                  <a:lstStyle/>
                  <a:p>
                    <a:r>
                      <a:rPr>
                        <a:solidFill>
                          <a:srgbClr val="FFFFFF"/>
                        </a:solidFill>
                      </a:rPr>
                      <a:t>151.7</a:t>
                    </a:r>
                  </a:p>
                </c:rich>
              </c:tx>
              <c:showLegendKey val="0"/>
              <c:showVal val="1"/>
              <c:showCatName val="0"/>
              <c:showSerName val="0"/>
              <c:showPercent val="0"/>
              <c:showBubbleSize val="0"/>
            </c:dLbl>
            <c:dLbl>
              <c:idx val="2"/>
              <c:tx>
                <c:rich>
                  <a:bodyPr/>
                  <a:lstStyle/>
                  <a:p>
                    <a:r>
                      <a:rPr>
                        <a:solidFill>
                          <a:srgbClr val="FFFFFF"/>
                        </a:solidFill>
                      </a:rPr>
                      <a:t>8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8.309423</c:v>
                </c:pt>
                <c:pt idx="1">
                  <c:v>151.653285</c:v>
                </c:pt>
                <c:pt idx="2">
                  <c:v>86.18043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102.7</a:t>
                    </a:r>
                  </a:p>
                </c:rich>
              </c:tx>
              <c:showLegendKey val="0"/>
              <c:showVal val="1"/>
              <c:showCatName val="0"/>
              <c:showSerName val="0"/>
              <c:showPercent val="0"/>
              <c:showBubbleSize val="0"/>
            </c:dLbl>
            <c:dLbl>
              <c:idx val="1"/>
              <c:tx>
                <c:rich>
                  <a:bodyPr/>
                  <a:lstStyle/>
                  <a:p>
                    <a:r>
                      <a:rPr>
                        <a:solidFill>
                          <a:srgbClr val="FFFFFF"/>
                        </a:solidFill>
                      </a:rPr>
                      <a:t>112.1</a:t>
                    </a:r>
                  </a:p>
                </c:rich>
              </c:tx>
              <c:showLegendKey val="0"/>
              <c:showVal val="1"/>
              <c:showCatName val="0"/>
              <c:showSerName val="0"/>
              <c:showPercent val="0"/>
              <c:showBubbleSize val="0"/>
            </c:dLbl>
            <c:dLbl>
              <c:idx val="2"/>
              <c:tx>
                <c:rich>
                  <a:bodyPr/>
                  <a:lstStyle/>
                  <a:p>
                    <a:r>
                      <a:rPr>
                        <a:solidFill>
                          <a:srgbClr val="FFFFFF"/>
                        </a:solidFill>
                      </a:rPr>
                      <a:t>6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2.727682</c:v>
                </c:pt>
                <c:pt idx="1">
                  <c:v>112.145088</c:v>
                </c:pt>
                <c:pt idx="2">
                  <c:v>68.8174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109.1</a:t>
                    </a:r>
                  </a:p>
                </c:rich>
              </c:tx>
              <c:showLegendKey val="0"/>
              <c:showVal val="1"/>
              <c:showCatName val="0"/>
              <c:showSerName val="0"/>
              <c:showPercent val="0"/>
              <c:showBubbleSize val="0"/>
            </c:dLbl>
            <c:dLbl>
              <c:idx val="1"/>
              <c:tx>
                <c:rich>
                  <a:bodyPr/>
                  <a:lstStyle/>
                  <a:p>
                    <a:r>
                      <a:rPr>
                        <a:solidFill>
                          <a:srgbClr val="FFFFFF"/>
                        </a:solidFill>
                      </a:rPr>
                      <a:t>108.3</a:t>
                    </a:r>
                  </a:p>
                </c:rich>
              </c:tx>
              <c:showLegendKey val="0"/>
              <c:showVal val="1"/>
              <c:showCatName val="0"/>
              <c:showSerName val="0"/>
              <c:showPercent val="0"/>
              <c:showBubbleSize val="0"/>
            </c:dLbl>
            <c:dLbl>
              <c:idx val="2"/>
              <c:tx>
                <c:rich>
                  <a:bodyPr/>
                  <a:lstStyle/>
                  <a:p>
                    <a:r>
                      <a:rPr>
                        <a:solidFill>
                          <a:srgbClr val="FFFFFF"/>
                        </a:solidFill>
                      </a:rPr>
                      <a:t>5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9.089521</c:v>
                </c:pt>
                <c:pt idx="1">
                  <c:v>108.301044</c:v>
                </c:pt>
                <c:pt idx="2">
                  <c:v>56.24274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277.9</a:t>
                    </a:r>
                  </a:p>
                </c:rich>
              </c:tx>
              <c:showLegendKey val="0"/>
              <c:showVal val="1"/>
              <c:showCatName val="0"/>
              <c:showSerName val="0"/>
              <c:showPercent val="0"/>
              <c:showBubbleSize val="0"/>
            </c:dLbl>
            <c:dLbl>
              <c:idx val="1"/>
              <c:tx>
                <c:rich>
                  <a:bodyPr/>
                  <a:lstStyle/>
                  <a:p>
                    <a:r>
                      <a:rPr>
                        <a:solidFill>
                          <a:srgbClr val="FFFFFF"/>
                        </a:solidFill>
                      </a:rPr>
                      <a:t>3301.3</a:t>
                    </a:r>
                  </a:p>
                </c:rich>
              </c:tx>
              <c:showLegendKey val="0"/>
              <c:showVal val="1"/>
              <c:showCatName val="0"/>
              <c:showSerName val="0"/>
              <c:showPercent val="0"/>
              <c:showBubbleSize val="0"/>
            </c:dLbl>
            <c:dLbl>
              <c:idx val="2"/>
              <c:tx>
                <c:rich>
                  <a:bodyPr/>
                  <a:lstStyle/>
                  <a:p>
                    <a:r>
                      <a:rPr>
                        <a:solidFill>
                          <a:srgbClr val="FFFFFF"/>
                        </a:solidFill>
                      </a:rPr>
                      <a:t>116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277.866867</c:v>
                </c:pt>
                <c:pt idx="1">
                  <c:v>3301.266465</c:v>
                </c:pt>
                <c:pt idx="2">
                  <c:v>1168.1752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7.5</a:t>
                    </a:r>
                  </a:p>
                </c:rich>
              </c:tx>
              <c:showLegendKey val="0"/>
              <c:showVal val="1"/>
              <c:showCatName val="0"/>
              <c:showSerName val="0"/>
              <c:showPercent val="0"/>
              <c:showBubbleSize val="0"/>
            </c:dLbl>
            <c:dLbl>
              <c:idx val="2"/>
              <c:tx>
                <c:rich>
                  <a:bodyPr/>
                  <a:lstStyle/>
                  <a:p>
                    <a:r>
                      <a:rPr>
                        <a:solidFill>
                          <a:srgbClr val="FFFFFF"/>
                        </a:solidFill>
                      </a:rPr>
                      <a:t>1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6.293856</c:v>
                </c:pt>
                <c:pt idx="1">
                  <c:v>67.541016</c:v>
                </c:pt>
                <c:pt idx="2">
                  <c:v>15.0625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7</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884821</c:v>
                </c:pt>
                <c:pt idx="1">
                  <c:v>9.747981</c:v>
                </c:pt>
                <c:pt idx="2">
                  <c:v>2.57143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617729</c:v>
                </c:pt>
                <c:pt idx="1">
                  <c:v>3.369281</c:v>
                </c:pt>
                <c:pt idx="2">
                  <c:v>0.06770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953605</c:v>
                </c:pt>
                <c:pt idx="1">
                  <c:v>2.806372</c:v>
                </c:pt>
                <c:pt idx="2">
                  <c:v>1.58823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464316</c:v>
                </c:pt>
                <c:pt idx="1">
                  <c:v>3.659267</c:v>
                </c:pt>
                <c:pt idx="2">
                  <c:v>1.91292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345483</c:v>
                </c:pt>
                <c:pt idx="1">
                  <c:v>2.215857</c:v>
                </c:pt>
                <c:pt idx="2">
                  <c:v>1.4252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8661</c:v>
                </c:pt>
                <c:pt idx="1">
                  <c:v>2.007214</c:v>
                </c:pt>
                <c:pt idx="2">
                  <c:v>1.39702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663143</c:v>
                </c:pt>
                <c:pt idx="1">
                  <c:v>1.737366</c:v>
                </c:pt>
                <c:pt idx="2">
                  <c:v>1.1344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81666</c:v>
                </c:pt>
                <c:pt idx="1">
                  <c:v>1.065521</c:v>
                </c:pt>
                <c:pt idx="2">
                  <c:v>0.62743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4</a:t>
                    </a:r>
                  </a:p>
                </c:rich>
              </c:tx>
              <c:showLegendKey val="0"/>
              <c:showVal val="1"/>
              <c:showCatName val="0"/>
              <c:showSerName val="0"/>
              <c:showPercent val="0"/>
              <c:showBubbleSize val="0"/>
            </c:dLbl>
            <c:dLbl>
              <c:idx val="2"/>
              <c:tx>
                <c:rich>
                  <a:bodyPr/>
                  <a:lstStyle/>
                  <a:p>
                    <a:r>
                      <a:rPr>
                        <a:solidFill>
                          <a:srgbClr val="FFFFFF"/>
                        </a:solidFill>
                      </a:rPr>
                      <a:t>1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8.841568</c:v>
                </c:pt>
                <c:pt idx="1">
                  <c:v>39.394386</c:v>
                </c:pt>
                <c:pt idx="2">
                  <c:v>13.9422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739.2</a:t>
                    </a:r>
                  </a:p>
                </c:rich>
              </c:tx>
              <c:showLegendKey val="0"/>
              <c:showVal val="1"/>
              <c:showCatName val="0"/>
              <c:showSerName val="0"/>
              <c:showPercent val="0"/>
              <c:showBubbleSize val="0"/>
            </c:dLbl>
            <c:dLbl>
              <c:idx val="1"/>
              <c:tx>
                <c:rich>
                  <a:bodyPr/>
                  <a:lstStyle/>
                  <a:p>
                    <a:r>
                      <a:rPr>
                        <a:solidFill>
                          <a:srgbClr val="FFFFFF"/>
                        </a:solidFill>
                      </a:rPr>
                      <a:t>750.9</a:t>
                    </a:r>
                  </a:p>
                </c:rich>
              </c:tx>
              <c:showLegendKey val="0"/>
              <c:showVal val="1"/>
              <c:showCatName val="0"/>
              <c:showSerName val="0"/>
              <c:showPercent val="0"/>
              <c:showBubbleSize val="0"/>
            </c:dLbl>
            <c:dLbl>
              <c:idx val="2"/>
              <c:tx>
                <c:rich>
                  <a:bodyPr/>
                  <a:lstStyle/>
                  <a:p>
                    <a:r>
                      <a:rPr>
                        <a:solidFill>
                          <a:srgbClr val="FFFFFF"/>
                        </a:solidFill>
                      </a:rPr>
                      <a:t>16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39.197316</c:v>
                </c:pt>
                <c:pt idx="1">
                  <c:v>750.875405</c:v>
                </c:pt>
                <c:pt idx="2">
                  <c:v>162.48514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104.9</a:t>
                    </a:r>
                  </a:p>
                </c:rich>
              </c:tx>
              <c:showLegendKey val="0"/>
              <c:showVal val="1"/>
              <c:showCatName val="0"/>
              <c:showSerName val="0"/>
              <c:showPercent val="0"/>
              <c:showBubbleSize val="0"/>
            </c:dLbl>
            <c:dLbl>
              <c:idx val="1"/>
              <c:tx>
                <c:rich>
                  <a:bodyPr/>
                  <a:lstStyle/>
                  <a:p>
                    <a:r>
                      <a:rPr>
                        <a:solidFill>
                          <a:srgbClr val="FFFFFF"/>
                        </a:solidFill>
                      </a:rPr>
                      <a:t>103.6</a:t>
                    </a:r>
                  </a:p>
                </c:rich>
              </c:tx>
              <c:showLegendKey val="0"/>
              <c:showVal val="1"/>
              <c:showCatName val="0"/>
              <c:showSerName val="0"/>
              <c:showPercent val="0"/>
              <c:showBubbleSize val="0"/>
            </c:dLbl>
            <c:dLbl>
              <c:idx val="2"/>
              <c:tx>
                <c:rich>
                  <a:bodyPr/>
                  <a:lstStyle/>
                  <a:p>
                    <a:r>
                      <a:rPr>
                        <a:solidFill>
                          <a:srgbClr val="FFFFFF"/>
                        </a:solidFill>
                      </a:rPr>
                      <a:t>2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4.911667</c:v>
                </c:pt>
                <c:pt idx="1">
                  <c:v>103.586089</c:v>
                </c:pt>
                <c:pt idx="2">
                  <c:v>24.14424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a:solidFill>
                          <a:srgbClr val="FFFFFF"/>
                        </a:solidFill>
                      </a:rPr>
                      <a:t>52.7</a:t>
                    </a:r>
                  </a:p>
                </c:rich>
              </c:tx>
              <c:showLegendKey val="0"/>
              <c:showVal val="1"/>
              <c:showCatName val="0"/>
              <c:showSerName val="0"/>
              <c:showPercent val="0"/>
              <c:showBubbleSize val="0"/>
            </c:dLbl>
            <c:dLbl>
              <c:idx val="1"/>
              <c:tx>
                <c:rich>
                  <a:bodyPr/>
                  <a:lstStyle/>
                  <a:p>
                    <a:r>
                      <a:rPr>
                        <a:solidFill>
                          <a:srgbClr val="FFFFFF"/>
                        </a:solidFill>
                      </a:rPr>
                      <a:t>50.1</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2.700908</c:v>
                </c:pt>
                <c:pt idx="1">
                  <c:v>50.090411</c:v>
                </c:pt>
                <c:pt idx="2">
                  <c:v>1.00465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39.3</a:t>
                    </a:r>
                  </a:p>
                </c:rich>
              </c:tx>
              <c:showLegendKey val="0"/>
              <c:showVal val="1"/>
              <c:showCatName val="0"/>
              <c:showSerName val="0"/>
              <c:showPercent val="0"/>
              <c:showBubbleSize val="0"/>
            </c:dLbl>
            <c:dLbl>
              <c:idx val="1"/>
              <c:tx>
                <c:rich>
                  <a:bodyPr/>
                  <a:lstStyle/>
                  <a:p>
                    <a:r>
                      <a:rPr>
                        <a:solidFill>
                          <a:srgbClr val="FFFFFF"/>
                        </a:solidFill>
                      </a:rPr>
                      <a:t>37.7</a:t>
                    </a:r>
                  </a:p>
                </c:rich>
              </c:tx>
              <c:showLegendKey val="0"/>
              <c:showVal val="1"/>
              <c:showCatName val="0"/>
              <c:showSerName val="0"/>
              <c:showPercent val="0"/>
              <c:showBubbleSize val="0"/>
            </c:dLbl>
            <c:dLbl>
              <c:idx val="2"/>
              <c:tx>
                <c:rich>
                  <a:bodyPr/>
                  <a:lstStyle/>
                  <a:p>
                    <a:r>
                      <a:rPr>
                        <a:solidFill>
                          <a:srgbClr val="FFFFFF"/>
                        </a:solidFill>
                      </a:rPr>
                      <a:t>2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9.334771</c:v>
                </c:pt>
                <c:pt idx="1">
                  <c:v>37.715445</c:v>
                </c:pt>
                <c:pt idx="2">
                  <c:v>20.16388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a:solidFill>
                          <a:srgbClr val="FFFFFF"/>
                        </a:solidFill>
                      </a:rPr>
                      <a:t>33.1</a:t>
                    </a:r>
                  </a:p>
                </c:rich>
              </c:tx>
              <c:showLegendKey val="0"/>
              <c:showVal val="1"/>
              <c:showCatName val="0"/>
              <c:showSerName val="0"/>
              <c:showPercent val="0"/>
              <c:showBubbleSize val="0"/>
            </c:dLbl>
            <c:dLbl>
              <c:idx val="1"/>
              <c:tx>
                <c:rich>
                  <a:bodyPr/>
                  <a:lstStyle/>
                  <a:p>
                    <a:r>
                      <a:rPr>
                        <a:solidFill>
                          <a:srgbClr val="FFFFFF"/>
                        </a:solidFill>
                      </a:rPr>
                      <a:t>34.8</a:t>
                    </a:r>
                  </a:p>
                </c:rich>
              </c:tx>
              <c:showLegendKey val="0"/>
              <c:showVal val="1"/>
              <c:showCatName val="0"/>
              <c:showSerName val="0"/>
              <c:showPercent val="0"/>
              <c:showBubbleSize val="0"/>
            </c:dLbl>
            <c:dLbl>
              <c:idx val="2"/>
              <c:tx>
                <c:rich>
                  <a:bodyPr/>
                  <a:lstStyle/>
                  <a:p>
                    <a:r>
                      <a:rPr>
                        <a:solidFill>
                          <a:srgbClr val="FFFFFF"/>
                        </a:solidFill>
                      </a:rPr>
                      <a:t>1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3.094673</c:v>
                </c:pt>
                <c:pt idx="1">
                  <c:v>34.813234</c:v>
                </c:pt>
                <c:pt idx="2">
                  <c:v>18.3514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0.855018</c:v>
                </c:pt>
                <c:pt idx="1">
                  <c:v>30.667442</c:v>
                </c:pt>
                <c:pt idx="2">
                  <c:v>19.469749</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7.7</a:t>
                    </a:r>
                  </a:p>
                </c:rich>
              </c:tx>
              <c:showLegendKey val="0"/>
              <c:showVal val="1"/>
              <c:showCatName val="0"/>
              <c:showSerName val="0"/>
              <c:showPercent val="0"/>
              <c:showBubbleSize val="0"/>
            </c:dLbl>
            <c:dLbl>
              <c:idx val="1"/>
              <c:tx>
                <c:rich>
                  <a:bodyPr/>
                  <a:lstStyle/>
                  <a:p>
                    <a:r>
                      <a:rPr>
                        <a:solidFill>
                          <a:srgbClr val="FFFFFF"/>
                        </a:solidFill>
                      </a:rPr>
                      <a:t>28.9</a:t>
                    </a:r>
                  </a:p>
                </c:rich>
              </c:tx>
              <c:showLegendKey val="0"/>
              <c:showVal val="1"/>
              <c:showCatName val="0"/>
              <c:showSerName val="0"/>
              <c:showPercent val="0"/>
              <c:showBubbleSize val="0"/>
            </c:dLbl>
            <c:dLbl>
              <c:idx val="2"/>
              <c:tx>
                <c:rich>
                  <a:bodyPr/>
                  <a:lstStyle/>
                  <a:p>
                    <a:r>
                      <a:rPr>
                        <a:solidFill>
                          <a:srgbClr val="FFFFFF"/>
                        </a:solidFill>
                      </a:rPr>
                      <a:t>1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7.693245</c:v>
                </c:pt>
                <c:pt idx="1">
                  <c:v>28.876939</c:v>
                </c:pt>
                <c:pt idx="2">
                  <c:v>19.30380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20.4</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0.410903</c:v>
                </c:pt>
                <c:pt idx="1">
                  <c:v>21.969333</c:v>
                </c:pt>
                <c:pt idx="2">
                  <c:v>14.03265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18.8</a:t>
                    </a:r>
                  </a:p>
                </c:rich>
              </c:tx>
              <c:showLegendKey val="0"/>
              <c:showVal val="1"/>
              <c:showCatName val="0"/>
              <c:showSerName val="0"/>
              <c:showPercent val="0"/>
              <c:showBubbleSize val="0"/>
            </c:dLbl>
            <c:dLbl>
              <c:idx val="1"/>
              <c:tx>
                <c:rich>
                  <a:bodyPr/>
                  <a:lstStyle/>
                  <a:p>
                    <a:r>
                      <a:rPr>
                        <a:solidFill>
                          <a:srgbClr val="FFFFFF"/>
                        </a:solidFill>
                      </a:rPr>
                      <a:t>18.5</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8.806523</c:v>
                </c:pt>
                <c:pt idx="1">
                  <c:v>18.544885</c:v>
                </c:pt>
                <c:pt idx="2">
                  <c:v>11.206845</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72.0</a:t>
                    </a:r>
                  </a:p>
                </c:rich>
              </c:tx>
              <c:showLegendKey val="0"/>
              <c:showVal val="1"/>
              <c:showCatName val="0"/>
              <c:showSerName val="0"/>
              <c:showPercent val="0"/>
              <c:showBubbleSize val="0"/>
            </c:dLbl>
            <c:dLbl>
              <c:idx val="1"/>
              <c:tx>
                <c:rich>
                  <a:bodyPr/>
                  <a:lstStyle/>
                  <a:p>
                    <a:r>
                      <a:rPr>
                        <a:solidFill>
                          <a:srgbClr val="FFFFFF"/>
                        </a:solidFill>
                      </a:rPr>
                      <a:t>579.3</a:t>
                    </a:r>
                  </a:p>
                </c:rich>
              </c:tx>
              <c:showLegendKey val="0"/>
              <c:showVal val="1"/>
              <c:showCatName val="0"/>
              <c:showSerName val="0"/>
              <c:showPercent val="0"/>
              <c:showBubbleSize val="0"/>
            </c:dLbl>
            <c:dLbl>
              <c:idx val="2"/>
              <c:tx>
                <c:rich>
                  <a:bodyPr/>
                  <a:lstStyle/>
                  <a:p>
                    <a:r>
                      <a:rPr>
                        <a:solidFill>
                          <a:srgbClr val="FFFFFF"/>
                        </a:solidFill>
                      </a:rPr>
                      <a:t>20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72.010107</c:v>
                </c:pt>
                <c:pt idx="1">
                  <c:v>579.260363</c:v>
                </c:pt>
                <c:pt idx="2">
                  <c:v>200.3800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3.3</a:t>
                    </a:r>
                  </a:p>
                </c:rich>
              </c:tx>
              <c:showLegendKey val="0"/>
              <c:showVal val="1"/>
              <c:showCatName val="0"/>
              <c:showSerName val="0"/>
              <c:showPercent val="0"/>
              <c:showBubbleSize val="0"/>
            </c:dLbl>
            <c:dLbl>
              <c:idx val="2"/>
              <c:tx>
                <c:rich>
                  <a:bodyPr/>
                  <a:lstStyle/>
                  <a:p>
                    <a:r>
                      <a:rPr>
                        <a:solidFill>
                          <a:srgbClr val="FFFFFF"/>
                        </a:solidFill>
                      </a:rPr>
                      <a:t>3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645968</c:v>
                </c:pt>
                <c:pt idx="1">
                  <c:v>63.271766</c:v>
                </c:pt>
                <c:pt idx="2">
                  <c:v>37.6255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6</a:t>
                    </a:r>
                  </a:p>
                </c:rich>
              </c:tx>
              <c:showLegendKey val="0"/>
              <c:showVal val="1"/>
              <c:showCatName val="0"/>
              <c:showSerName val="0"/>
              <c:showPercent val="0"/>
              <c:showBubbleSize val="0"/>
            </c:dLbl>
            <c:dLbl>
              <c:idx val="2"/>
              <c:tx>
                <c:rich>
                  <a:bodyPr/>
                  <a:lstStyle/>
                  <a:p>
                    <a:r>
                      <a:rPr>
                        <a:solidFill>
                          <a:srgbClr val="FFFFFF"/>
                        </a:solidFill>
                      </a:rPr>
                      <a:t>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655848</c:v>
                </c:pt>
                <c:pt idx="1">
                  <c:v>9.608297</c:v>
                </c:pt>
                <c:pt idx="2">
                  <c:v>6.02375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853949</c:v>
                </c:pt>
                <c:pt idx="1">
                  <c:v>4.164058</c:v>
                </c:pt>
                <c:pt idx="2">
                  <c:v>2.51072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814406</c:v>
                </c:pt>
                <c:pt idx="1">
                  <c:v>2.852748</c:v>
                </c:pt>
                <c:pt idx="2">
                  <c:v>1.62297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eerdamm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38766</c:v>
                </c:pt>
                <c:pt idx="1">
                  <c:v>2.265998</c:v>
                </c:pt>
                <c:pt idx="2">
                  <c:v>1.34771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981927</c:v>
                </c:pt>
                <c:pt idx="1">
                  <c:v>2.116731</c:v>
                </c:pt>
                <c:pt idx="2">
                  <c:v>1.569766</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584336</c:v>
                </c:pt>
                <c:pt idx="1">
                  <c:v>1.92329</c:v>
                </c:pt>
                <c:pt idx="2">
                  <c:v>1.20745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112263</c:v>
                </c:pt>
                <c:pt idx="1">
                  <c:v>1.200448</c:v>
                </c:pt>
                <c:pt idx="2">
                  <c:v>0.6732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35401</c:v>
                </c:pt>
                <c:pt idx="1">
                  <c:v>1.14287</c:v>
                </c:pt>
                <c:pt idx="2">
                  <c:v>0.77940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8</a:t>
                    </a:r>
                  </a:p>
                </c:rich>
              </c:tx>
              <c:showLegendKey val="0"/>
              <c:showVal val="1"/>
              <c:showCatName val="0"/>
              <c:showSerName val="0"/>
              <c:showPercent val="0"/>
              <c:showBubbleSize val="0"/>
            </c:dLbl>
            <c:dLbl>
              <c:idx val="2"/>
              <c:tx>
                <c:rich>
                  <a:bodyPr/>
                  <a:lstStyle/>
                  <a:p>
                    <a:r>
                      <a:rPr>
                        <a:solidFill>
                          <a:srgbClr val="FFFFFF"/>
                        </a:solidFill>
                      </a:rPr>
                      <a:t>1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8.937863</c:v>
                </c:pt>
                <c:pt idx="1">
                  <c:v>29.803055</c:v>
                </c:pt>
                <c:pt idx="2">
                  <c:v>17.94530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542.5</a:t>
                    </a:r>
                  </a:p>
                </c:rich>
              </c:tx>
              <c:showLegendKey val="0"/>
              <c:showVal val="1"/>
              <c:showCatName val="0"/>
              <c:showSerName val="0"/>
              <c:showPercent val="0"/>
              <c:showBubbleSize val="0"/>
            </c:dLbl>
            <c:dLbl>
              <c:idx val="1"/>
              <c:tx>
                <c:rich>
                  <a:bodyPr/>
                  <a:lstStyle/>
                  <a:p>
                    <a:r>
                      <a:rPr>
                        <a:solidFill>
                          <a:srgbClr val="FFFFFF"/>
                        </a:solidFill>
                      </a:rPr>
                      <a:t>609.4</a:t>
                    </a:r>
                  </a:p>
                </c:rich>
              </c:tx>
              <c:showLegendKey val="0"/>
              <c:showVal val="1"/>
              <c:showCatName val="0"/>
              <c:showSerName val="0"/>
              <c:showPercent val="0"/>
              <c:showBubbleSize val="0"/>
            </c:dLbl>
            <c:dLbl>
              <c:idx val="2"/>
              <c:tx>
                <c:rich>
                  <a:bodyPr/>
                  <a:lstStyle/>
                  <a:p>
                    <a:r>
                      <a:rPr>
                        <a:solidFill>
                          <a:srgbClr val="FFFFFF"/>
                        </a:solidFill>
                      </a:rPr>
                      <a:t>36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2.501619</c:v>
                </c:pt>
                <c:pt idx="1">
                  <c:v>609.446842</c:v>
                </c:pt>
                <c:pt idx="2">
                  <c:v>366.148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93.0</a:t>
                    </a:r>
                  </a:p>
                </c:rich>
              </c:tx>
              <c:showLegendKey val="0"/>
              <c:showVal val="1"/>
              <c:showCatName val="0"/>
              <c:showSerName val="0"/>
              <c:showPercent val="0"/>
              <c:showBubbleSize val="0"/>
            </c:dLbl>
            <c:dLbl>
              <c:idx val="1"/>
              <c:tx>
                <c:rich>
                  <a:bodyPr/>
                  <a:lstStyle/>
                  <a:p>
                    <a:r>
                      <a:rPr>
                        <a:solidFill>
                          <a:srgbClr val="FFFFFF"/>
                        </a:solidFill>
                      </a:rPr>
                      <a:t>102.4</a:t>
                    </a:r>
                  </a:p>
                </c:rich>
              </c:tx>
              <c:showLegendKey val="0"/>
              <c:showVal val="1"/>
              <c:showCatName val="0"/>
              <c:showSerName val="0"/>
              <c:showPercent val="0"/>
              <c:showBubbleSize val="0"/>
            </c:dLbl>
            <c:dLbl>
              <c:idx val="2"/>
              <c:tx>
                <c:rich>
                  <a:bodyPr/>
                  <a:lstStyle/>
                  <a:p>
                    <a:r>
                      <a:rPr>
                        <a:solidFill>
                          <a:srgbClr val="FFFFFF"/>
                        </a:solidFill>
                      </a:rPr>
                      <a:t>6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2.963226</c:v>
                </c:pt>
                <c:pt idx="1">
                  <c:v>102.359763</c:v>
                </c:pt>
                <c:pt idx="2">
                  <c:v>63.91088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Entremont</c:v>
                </c:pt>
              </c:strCache>
            </c:strRef>
          </c:tx>
          <c:spPr>
            <a:solidFill>
              <a:srgbClr val="9B9898"/>
            </a:solidFill>
            <a:ln>
              <a:solidFill>
                <a:schemeClr val="bg1"/>
              </a:solidFill>
            </a:ln>
            <a:effectLst/>
          </c:spPr>
          <c:invertIfNegative val="0"/>
          <c:dLbls>
            <c:dLbl>
              <c:idx val="0"/>
              <c:tx>
                <c:rich>
                  <a:bodyPr/>
                  <a:lstStyle/>
                  <a:p>
                    <a:r>
                      <a:rPr>
                        <a:solidFill>
                          <a:srgbClr val="FFFFFF"/>
                        </a:solidFill>
                      </a:rPr>
                      <a:t>56.9</a:t>
                    </a:r>
                  </a:p>
                </c:rich>
              </c:tx>
              <c:showLegendKey val="0"/>
              <c:showVal val="1"/>
              <c:showCatName val="0"/>
              <c:showSerName val="0"/>
              <c:showPercent val="0"/>
              <c:showBubbleSize val="0"/>
            </c:dLbl>
            <c:dLbl>
              <c:idx val="1"/>
              <c:tx>
                <c:rich>
                  <a:bodyPr/>
                  <a:lstStyle/>
                  <a:p>
                    <a:r>
                      <a:rPr>
                        <a:solidFill>
                          <a:srgbClr val="FFFFFF"/>
                        </a:solidFill>
                      </a:rPr>
                      <a:t>63.5</a:t>
                    </a:r>
                  </a:p>
                </c:rich>
              </c:tx>
              <c:showLegendKey val="0"/>
              <c:showVal val="1"/>
              <c:showCatName val="0"/>
              <c:showSerName val="0"/>
              <c:showPercent val="0"/>
              <c:showBubbleSize val="0"/>
            </c:dLbl>
            <c:dLbl>
              <c:idx val="2"/>
              <c:tx>
                <c:rich>
                  <a:bodyPr/>
                  <a:lstStyle/>
                  <a:p>
                    <a:r>
                      <a:rPr>
                        <a:solidFill>
                          <a:srgbClr val="FFFFFF"/>
                        </a:solidFill>
                      </a:rPr>
                      <a:t>3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6.945995</c:v>
                </c:pt>
                <c:pt idx="1">
                  <c:v>63.499516</c:v>
                </c:pt>
                <c:pt idx="2">
                  <c:v>37.47013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36.5</a:t>
                    </a:r>
                  </a:p>
                </c:rich>
              </c:tx>
              <c:showLegendKey val="0"/>
              <c:showVal val="1"/>
              <c:showCatName val="0"/>
              <c:showSerName val="0"/>
              <c:showPercent val="0"/>
              <c:showBubbleSize val="0"/>
            </c:dLbl>
            <c:dLbl>
              <c:idx val="1"/>
              <c:tx>
                <c:rich>
                  <a:bodyPr/>
                  <a:lstStyle/>
                  <a:p>
                    <a:r>
                      <a:rPr>
                        <a:solidFill>
                          <a:srgbClr val="FFFFFF"/>
                        </a:solidFill>
                      </a:rPr>
                      <a:t>36.9</a:t>
                    </a:r>
                  </a:p>
                </c:rich>
              </c:tx>
              <c:showLegendKey val="0"/>
              <c:showVal val="1"/>
              <c:showCatName val="0"/>
              <c:showSerName val="0"/>
              <c:showPercent val="0"/>
              <c:showBubbleSize val="0"/>
            </c:dLbl>
            <c:dLbl>
              <c:idx val="2"/>
              <c:tx>
                <c:rich>
                  <a:bodyPr/>
                  <a:lstStyle/>
                  <a:p>
                    <a:r>
                      <a:rPr>
                        <a:solidFill>
                          <a:srgbClr val="FFFFFF"/>
                        </a:solidFill>
                      </a:rPr>
                      <a:t>2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452484</c:v>
                </c:pt>
                <c:pt idx="1">
                  <c:v>36.858634</c:v>
                </c:pt>
                <c:pt idx="2">
                  <c:v>20.51811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eerdammer</c:v>
                </c:pt>
              </c:strCache>
            </c:strRef>
          </c:tx>
          <c:spPr>
            <a:solidFill>
              <a:srgbClr val="575555"/>
            </a:solidFill>
            <a:ln>
              <a:solidFill>
                <a:schemeClr val="bg1"/>
              </a:solidFill>
            </a:ln>
            <a:effectLst/>
          </c:spPr>
          <c:invertIfNegative val="0"/>
          <c:dLbls>
            <c:dLbl>
              <c:idx val="0"/>
              <c:tx>
                <c:rich>
                  <a:bodyPr/>
                  <a:lstStyle/>
                  <a:p>
                    <a:r>
                      <a:rPr>
                        <a:solidFill>
                          <a:srgbClr val="FFFFFF"/>
                        </a:solidFill>
                      </a:rPr>
                      <a:t>29.4</a:t>
                    </a:r>
                  </a:p>
                </c:rich>
              </c:tx>
              <c:showLegendKey val="0"/>
              <c:showVal val="1"/>
              <c:showCatName val="0"/>
              <c:showSerName val="0"/>
              <c:showPercent val="0"/>
              <c:showBubbleSize val="0"/>
            </c:dLbl>
            <c:dLbl>
              <c:idx val="1"/>
              <c:tx>
                <c:rich>
                  <a:bodyPr/>
                  <a:lstStyle/>
                  <a:p>
                    <a:r>
                      <a:rPr>
                        <a:solidFill>
                          <a:srgbClr val="FFFFFF"/>
                        </a:solidFill>
                      </a:rPr>
                      <a:t>29.3</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9.368504</c:v>
                </c:pt>
                <c:pt idx="1">
                  <c:v>29.345677</c:v>
                </c:pt>
                <c:pt idx="2">
                  <c:v>17.4653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24.6</a:t>
                    </a:r>
                  </a:p>
                </c:rich>
              </c:tx>
              <c:showLegendKey val="0"/>
              <c:showVal val="1"/>
              <c:showCatName val="0"/>
              <c:showSerName val="0"/>
              <c:showPercent val="0"/>
              <c:showBubbleSize val="0"/>
            </c:dLbl>
            <c:dLbl>
              <c:idx val="1"/>
              <c:tx>
                <c:rich>
                  <a:bodyPr/>
                  <a:lstStyle/>
                  <a:p>
                    <a:r>
                      <a:rPr>
                        <a:solidFill>
                          <a:srgbClr val="FFFFFF"/>
                        </a:solidFill>
                      </a:rPr>
                      <a:t>26.7</a:t>
                    </a:r>
                  </a:p>
                </c:rich>
              </c:tx>
              <c:showLegendKey val="0"/>
              <c:showVal val="1"/>
              <c:showCatName val="0"/>
              <c:showSerName val="0"/>
              <c:showPercent val="0"/>
              <c:showBubbleSize val="0"/>
            </c:dLbl>
            <c:dLbl>
              <c:idx val="2"/>
              <c:tx>
                <c:rich>
                  <a:bodyPr/>
                  <a:lstStyle/>
                  <a:p>
                    <a:r>
                      <a:rPr>
                        <a:solidFill>
                          <a:srgbClr val="FFFFFF"/>
                        </a:solidFill>
                      </a:rPr>
                      <a:t>2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4.580123</c:v>
                </c:pt>
                <c:pt idx="1">
                  <c:v>26.696608</c:v>
                </c:pt>
                <c:pt idx="2">
                  <c:v>21.23728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7.5</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7.486407</c:v>
                </c:pt>
                <c:pt idx="1">
                  <c:v>20.290632</c:v>
                </c:pt>
                <c:pt idx="2">
                  <c:v>13.43894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18.8</a:t>
                    </a:r>
                  </a:p>
                </c:rich>
              </c:tx>
              <c:showLegendKey val="0"/>
              <c:showVal val="1"/>
              <c:showCatName val="0"/>
              <c:showSerName val="0"/>
              <c:showPercent val="0"/>
              <c:showBubbleSize val="0"/>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1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817171</c:v>
                </c:pt>
                <c:pt idx="1">
                  <c:v>20.10012</c:v>
                </c:pt>
                <c:pt idx="2">
                  <c:v>11.67377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13.6</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3.623653</c:v>
                </c:pt>
                <c:pt idx="1">
                  <c:v>15.786978</c:v>
                </c:pt>
                <c:pt idx="2">
                  <c:v>10.50840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91.8</a:t>
                    </a:r>
                  </a:p>
                </c:rich>
              </c:tx>
              <c:showLegendKey val="0"/>
              <c:showVal val="1"/>
              <c:showCatName val="0"/>
              <c:showSerName val="0"/>
              <c:showPercent val="0"/>
              <c:showBubbleSize val="0"/>
            </c:dLbl>
            <c:dLbl>
              <c:idx val="1"/>
              <c:tx>
                <c:rich>
                  <a:bodyPr/>
                  <a:lstStyle/>
                  <a:p>
                    <a:r>
                      <a:rPr>
                        <a:solidFill>
                          <a:srgbClr val="FFFFFF"/>
                        </a:solidFill>
                      </a:rPr>
                      <a:t>412.6</a:t>
                    </a:r>
                  </a:p>
                </c:rich>
              </c:tx>
              <c:showLegendKey val="0"/>
              <c:showVal val="1"/>
              <c:showCatName val="0"/>
              <c:showSerName val="0"/>
              <c:showPercent val="0"/>
              <c:showBubbleSize val="0"/>
            </c:dLbl>
            <c:dLbl>
              <c:idx val="2"/>
              <c:tx>
                <c:rich>
                  <a:bodyPr/>
                  <a:lstStyle/>
                  <a:p>
                    <a:r>
                      <a:rPr>
                        <a:solidFill>
                          <a:srgbClr val="FFFFFF"/>
                        </a:solidFill>
                      </a:rPr>
                      <a:t>25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91.783243</c:v>
                </c:pt>
                <c:pt idx="1">
                  <c:v>412.625112</c:v>
                </c:pt>
                <c:pt idx="2">
                  <c:v>252.9784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6.4</a:t>
                    </a:r>
                  </a:p>
                </c:rich>
              </c:tx>
              <c:showLegendKey val="0"/>
              <c:showVal val="1"/>
              <c:showCatName val="0"/>
              <c:showSerName val="0"/>
              <c:showPercent val="0"/>
              <c:showBubbleSize val="0"/>
            </c:dLbl>
            <c:dLbl>
              <c:idx val="2"/>
              <c:tx>
                <c:rich>
                  <a:bodyPr/>
                  <a:lstStyle/>
                  <a:p>
                    <a:r>
                      <a:rPr>
                        <a:solidFill>
                          <a:srgbClr val="FFFFFF"/>
                        </a:solidFill>
                      </a:rPr>
                      <a:t>10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5.424021</c:v>
                </c:pt>
                <c:pt idx="1">
                  <c:v>176.390376</c:v>
                </c:pt>
                <c:pt idx="2">
                  <c:v>106.3984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6</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074402</c:v>
                </c:pt>
                <c:pt idx="1">
                  <c:v>24.610005</c:v>
                </c:pt>
                <c:pt idx="2">
                  <c:v>14.89904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0</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915776</c:v>
                </c:pt>
                <c:pt idx="1">
                  <c:v>16.999078</c:v>
                </c:pt>
                <c:pt idx="2">
                  <c:v>9.44493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997161</c:v>
                </c:pt>
                <c:pt idx="1">
                  <c:v>13.915424</c:v>
                </c:pt>
                <c:pt idx="2">
                  <c:v>8.17428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2</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310804</c:v>
                </c:pt>
                <c:pt idx="1">
                  <c:v>13.223214</c:v>
                </c:pt>
                <c:pt idx="2">
                  <c:v>9.02857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6</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9.036201</c:v>
                </c:pt>
                <c:pt idx="1">
                  <c:v>18.5714</c:v>
                </c:pt>
                <c:pt idx="2">
                  <c:v>10.05820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4</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1.909874</c:v>
                </c:pt>
                <c:pt idx="1">
                  <c:v>13.394218</c:v>
                </c:pt>
                <c:pt idx="2">
                  <c:v>8.327199</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5</a:t>
                    </a:r>
                  </a:p>
                </c:rich>
              </c:tx>
              <c:showLegendKey val="0"/>
              <c:showVal val="1"/>
              <c:showCatName val="0"/>
              <c:showSerName val="0"/>
              <c:showPercent val="0"/>
              <c:showBubbleSize val="0"/>
            </c:dLbl>
            <c:dLbl>
              <c:idx val="2"/>
              <c:tx>
                <c:rich>
                  <a:bodyPr/>
                  <a:lstStyle/>
                  <a:p>
                    <a:r>
                      <a:rPr>
                        <a:solidFill>
                          <a:srgbClr val="FFFFFF"/>
                        </a:solidFill>
                      </a:rPr>
                      <a:t>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966116</c:v>
                </c:pt>
                <c:pt idx="1">
                  <c:v>8.470445</c:v>
                </c:pt>
                <c:pt idx="2">
                  <c:v>5.32937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44465</c:v>
                </c:pt>
                <c:pt idx="1">
                  <c:v>5.533521</c:v>
                </c:pt>
                <c:pt idx="2">
                  <c:v>2.95952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2.0</a:t>
                    </a:r>
                  </a:p>
                </c:rich>
              </c:tx>
              <c:showLegendKey val="0"/>
              <c:showVal val="1"/>
              <c:showCatName val="0"/>
              <c:showSerName val="0"/>
              <c:showPercent val="0"/>
              <c:showBubbleSize val="0"/>
            </c:dLbl>
            <c:dLbl>
              <c:idx val="2"/>
              <c:tx>
                <c:rich>
                  <a:bodyPr/>
                  <a:lstStyle/>
                  <a:p>
                    <a:r>
                      <a:rPr>
                        <a:solidFill>
                          <a:srgbClr val="FFFFFF"/>
                        </a:solidFill>
                      </a:rPr>
                      <a:t>5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92.909004</c:v>
                </c:pt>
                <c:pt idx="1">
                  <c:v>91.97398</c:v>
                </c:pt>
                <c:pt idx="2">
                  <c:v>58.2967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3.3</a:t>
                    </a:r>
                  </a:p>
                </c:rich>
              </c:tx>
              <c:showLegendKey val="0"/>
              <c:showVal val="1"/>
              <c:showCatName val="0"/>
              <c:showSerName val="0"/>
              <c:showPercent val="0"/>
              <c:showBubbleSize val="0"/>
            </c:dLbl>
            <c:dLbl>
              <c:idx val="2"/>
              <c:tx>
                <c:rich>
                  <a:bodyPr/>
                  <a:lstStyle/>
                  <a:p>
                    <a:r>
                      <a:rPr>
                        <a:solidFill>
                          <a:srgbClr val="FFFFFF"/>
                        </a:solidFill>
                      </a:rPr>
                      <a:t>3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645968</c:v>
                </c:pt>
                <c:pt idx="1">
                  <c:v>63.271766</c:v>
                </c:pt>
                <c:pt idx="2">
                  <c:v>37.62552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267999</c:v>
                </c:pt>
                <c:pt idx="1">
                  <c:v>18.716798</c:v>
                </c:pt>
                <c:pt idx="2">
                  <c:v>11.76447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3</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4.588515</c:v>
                </c:pt>
                <c:pt idx="1">
                  <c:v>14.334525</c:v>
                </c:pt>
                <c:pt idx="2">
                  <c:v>8.26055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4</a:t>
                    </a:r>
                  </a:p>
                </c:rich>
              </c:tx>
              <c:showLegendKey val="0"/>
              <c:showVal val="1"/>
              <c:showCatName val="0"/>
              <c:showSerName val="0"/>
              <c:showPercent val="0"/>
              <c:showBubbleSize val="0"/>
            </c:dLbl>
            <c:dLbl>
              <c:idx val="2"/>
              <c:tx>
                <c:rich>
                  <a:bodyPr/>
                  <a:lstStyle/>
                  <a:p>
                    <a:r>
                      <a:rPr>
                        <a:solidFill>
                          <a:srgbClr val="FFFFFF"/>
                        </a:solidFill>
                      </a:rPr>
                      <a:t>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6.718483</c:v>
                </c:pt>
                <c:pt idx="1">
                  <c:v>7.434808</c:v>
                </c:pt>
                <c:pt idx="2">
                  <c:v>4.32938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853949</c:v>
                </c:pt>
                <c:pt idx="1">
                  <c:v>4.164058</c:v>
                </c:pt>
                <c:pt idx="2">
                  <c:v>2.50354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215664</c:v>
                </c:pt>
                <c:pt idx="1">
                  <c:v>3.328652</c:v>
                </c:pt>
                <c:pt idx="2">
                  <c:v>1.93457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470149</c:v>
                </c:pt>
                <c:pt idx="1">
                  <c:v>7.098654</c:v>
                </c:pt>
                <c:pt idx="2">
                  <c:v>4.887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1534.9</a:t>
                    </a:r>
                  </a:p>
                </c:rich>
              </c:tx>
              <c:showLegendKey val="0"/>
              <c:showVal val="1"/>
              <c:showCatName val="0"/>
              <c:showSerName val="0"/>
              <c:showPercent val="0"/>
              <c:showBubbleSize val="0"/>
            </c:dLbl>
            <c:dLbl>
              <c:idx val="1"/>
              <c:tx>
                <c:rich>
                  <a:bodyPr/>
                  <a:lstStyle/>
                  <a:p>
                    <a:r>
                      <a:rPr>
                        <a:solidFill>
                          <a:srgbClr val="FFFFFF"/>
                        </a:solidFill>
                      </a:rPr>
                      <a:t>1663.3</a:t>
                    </a:r>
                  </a:p>
                </c:rich>
              </c:tx>
              <c:showLegendKey val="0"/>
              <c:showVal val="1"/>
              <c:showCatName val="0"/>
              <c:showSerName val="0"/>
              <c:showPercent val="0"/>
              <c:showBubbleSize val="0"/>
            </c:dLbl>
            <c:dLbl>
              <c:idx val="2"/>
              <c:tx>
                <c:rich>
                  <a:bodyPr/>
                  <a:lstStyle/>
                  <a:p>
                    <a:r>
                      <a:rPr>
                        <a:solidFill>
                          <a:srgbClr val="FFFFFF"/>
                        </a:solidFill>
                      </a:rPr>
                      <a:t>102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34.853614</c:v>
                </c:pt>
                <c:pt idx="1">
                  <c:v>1663.343003</c:v>
                </c:pt>
                <c:pt idx="2">
                  <c:v>1023.4614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222.1</a:t>
                    </a:r>
                  </a:p>
                </c:rich>
              </c:tx>
              <c:showLegendKey val="0"/>
              <c:showVal val="1"/>
              <c:showCatName val="0"/>
              <c:showSerName val="0"/>
              <c:showPercent val="0"/>
              <c:showBubbleSize val="0"/>
            </c:dLbl>
            <c:dLbl>
              <c:idx val="1"/>
              <c:tx>
                <c:rich>
                  <a:bodyPr/>
                  <a:lstStyle/>
                  <a:p>
                    <a:r>
                      <a:rPr>
                        <a:solidFill>
                          <a:srgbClr val="FFFFFF"/>
                        </a:solidFill>
                      </a:rPr>
                      <a:t>227.7</a:t>
                    </a:r>
                  </a:p>
                </c:rich>
              </c:tx>
              <c:showLegendKey val="0"/>
              <c:showVal val="1"/>
              <c:showCatName val="0"/>
              <c:showSerName val="0"/>
              <c:showPercent val="0"/>
              <c:showBubbleSize val="0"/>
            </c:dLbl>
            <c:dLbl>
              <c:idx val="2"/>
              <c:tx>
                <c:rich>
                  <a:bodyPr/>
                  <a:lstStyle/>
                  <a:p>
                    <a:r>
                      <a:rPr>
                        <a:solidFill>
                          <a:srgbClr val="FFFFFF"/>
                        </a:solidFill>
                      </a:rPr>
                      <a:t>1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2.054354</c:v>
                </c:pt>
                <c:pt idx="1">
                  <c:v>227.742284</c:v>
                </c:pt>
                <c:pt idx="2">
                  <c:v>136.04020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a:solidFill>
                          <a:srgbClr val="FFFFFF"/>
                        </a:solidFill>
                      </a:rPr>
                      <a:t>218.2</a:t>
                    </a:r>
                  </a:p>
                </c:rich>
              </c:tx>
              <c:showLegendKey val="0"/>
              <c:showVal val="1"/>
              <c:showCatName val="0"/>
              <c:showSerName val="0"/>
              <c:showPercent val="0"/>
              <c:showBubbleSize val="0"/>
            </c:dLbl>
            <c:dLbl>
              <c:idx val="1"/>
              <c:tx>
                <c:rich>
                  <a:bodyPr/>
                  <a:lstStyle/>
                  <a:p>
                    <a:r>
                      <a:rPr>
                        <a:solidFill>
                          <a:srgbClr val="FFFFFF"/>
                        </a:solidFill>
                      </a:rPr>
                      <a:t>206.7</a:t>
                    </a:r>
                  </a:p>
                </c:rich>
              </c:tx>
              <c:showLegendKey val="0"/>
              <c:showVal val="1"/>
              <c:showCatName val="0"/>
              <c:showSerName val="0"/>
              <c:showPercent val="0"/>
              <c:showBubbleSize val="0"/>
            </c:dLbl>
            <c:dLbl>
              <c:idx val="2"/>
              <c:tx>
                <c:rich>
                  <a:bodyPr/>
                  <a:lstStyle/>
                  <a:p>
                    <a:r>
                      <a:rPr>
                        <a:solidFill>
                          <a:srgbClr val="FFFFFF"/>
                        </a:solidFill>
                      </a:rPr>
                      <a:t>11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18.22429</c:v>
                </c:pt>
                <c:pt idx="1">
                  <c:v>206.668985</c:v>
                </c:pt>
                <c:pt idx="2">
                  <c:v>114.748862</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a:solidFill>
                          <a:srgbClr val="FFFFFF"/>
                        </a:solidFill>
                      </a:rPr>
                      <a:t>180.2</a:t>
                    </a:r>
                  </a:p>
                </c:rich>
              </c:tx>
              <c:showLegendKey val="0"/>
              <c:showVal val="1"/>
              <c:showCatName val="0"/>
              <c:showSerName val="0"/>
              <c:showPercent val="0"/>
              <c:showBubbleSize val="0"/>
            </c:dLbl>
            <c:dLbl>
              <c:idx val="1"/>
              <c:tx>
                <c:rich>
                  <a:bodyPr/>
                  <a:lstStyle/>
                  <a:p>
                    <a:r>
                      <a:rPr>
                        <a:solidFill>
                          <a:srgbClr val="FFFFFF"/>
                        </a:solidFill>
                      </a:rPr>
                      <a:t>183.8</a:t>
                    </a:r>
                  </a:p>
                </c:rich>
              </c:tx>
              <c:showLegendKey val="0"/>
              <c:showVal val="1"/>
              <c:showCatName val="0"/>
              <c:showSerName val="0"/>
              <c:showPercent val="0"/>
              <c:showBubbleSize val="0"/>
            </c:dLbl>
            <c:dLbl>
              <c:idx val="2"/>
              <c:tx>
                <c:rich>
                  <a:bodyPr/>
                  <a:lstStyle/>
                  <a:p>
                    <a:r>
                      <a:rPr>
                        <a:solidFill>
                          <a:srgbClr val="FFFFFF"/>
                        </a:solidFill>
                      </a:rPr>
                      <a:t>10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0.204726</c:v>
                </c:pt>
                <c:pt idx="1">
                  <c:v>183.821452</c:v>
                </c:pt>
                <c:pt idx="2">
                  <c:v>108.57469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161.5</a:t>
                    </a:r>
                  </a:p>
                </c:rich>
              </c:tx>
              <c:showLegendKey val="0"/>
              <c:showVal val="1"/>
              <c:showCatName val="0"/>
              <c:showSerName val="0"/>
              <c:showPercent val="0"/>
              <c:showBubbleSize val="0"/>
            </c:dLbl>
            <c:dLbl>
              <c:idx val="1"/>
              <c:tx>
                <c:rich>
                  <a:bodyPr/>
                  <a:lstStyle/>
                  <a:p>
                    <a:r>
                      <a:rPr>
                        <a:solidFill>
                          <a:srgbClr val="FFFFFF"/>
                        </a:solidFill>
                      </a:rPr>
                      <a:t>172.3</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61.484844</c:v>
                </c:pt>
                <c:pt idx="1">
                  <c:v>172.27969</c:v>
                </c:pt>
                <c:pt idx="2">
                  <c:v>114.21405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154.1</a:t>
                    </a:r>
                  </a:p>
                </c:rich>
              </c:tx>
              <c:showLegendKey val="0"/>
              <c:showVal val="1"/>
              <c:showCatName val="0"/>
              <c:showSerName val="0"/>
              <c:showPercent val="0"/>
              <c:showBubbleSize val="0"/>
            </c:dLbl>
            <c:dLbl>
              <c:idx val="1"/>
              <c:tx>
                <c:rich>
                  <a:bodyPr/>
                  <a:lstStyle/>
                  <a:p>
                    <a:r>
                      <a:rPr>
                        <a:solidFill>
                          <a:srgbClr val="FFFFFF"/>
                        </a:solidFill>
                      </a:rPr>
                      <a:t>152.2</a:t>
                    </a:r>
                  </a:p>
                </c:rich>
              </c:tx>
              <c:showLegendKey val="0"/>
              <c:showVal val="1"/>
              <c:showCatName val="0"/>
              <c:showSerName val="0"/>
              <c:showPercent val="0"/>
              <c:showBubbleSize val="0"/>
            </c:dLbl>
            <c:dLbl>
              <c:idx val="2"/>
              <c:tx>
                <c:rich>
                  <a:bodyPr/>
                  <a:lstStyle/>
                  <a:p>
                    <a:r>
                      <a:rPr>
                        <a:solidFill>
                          <a:srgbClr val="FFFFFF"/>
                        </a:solidFill>
                      </a:rPr>
                      <a:t>8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54.138542</c:v>
                </c:pt>
                <c:pt idx="1">
                  <c:v>152.202791</c:v>
                </c:pt>
                <c:pt idx="2">
                  <c:v>82.500922</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25.2</a:t>
                    </a:r>
                  </a:p>
                </c:rich>
              </c:tx>
              <c:showLegendKey val="0"/>
              <c:showVal val="1"/>
              <c:showCatName val="0"/>
              <c:showSerName val="0"/>
              <c:showPercent val="0"/>
              <c:showBubbleSize val="0"/>
            </c:dLbl>
            <c:dLbl>
              <c:idx val="1"/>
              <c:tx>
                <c:rich>
                  <a:bodyPr/>
                  <a:lstStyle/>
                  <a:p>
                    <a:r>
                      <a:rPr>
                        <a:solidFill>
                          <a:srgbClr val="FFFFFF"/>
                        </a:solidFill>
                      </a:rPr>
                      <a:t>138.2</a:t>
                    </a:r>
                  </a:p>
                </c:rich>
              </c:tx>
              <c:showLegendKey val="0"/>
              <c:showVal val="1"/>
              <c:showCatName val="0"/>
              <c:showSerName val="0"/>
              <c:showPercent val="0"/>
              <c:showBubbleSize val="0"/>
            </c:dLbl>
            <c:dLbl>
              <c:idx val="2"/>
              <c:tx>
                <c:rich>
                  <a:bodyPr/>
                  <a:lstStyle/>
                  <a:p>
                    <a:r>
                      <a:rPr>
                        <a:solidFill>
                          <a:srgbClr val="FFFFFF"/>
                        </a:solidFill>
                      </a:rPr>
                      <a:t>8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25.196494</c:v>
                </c:pt>
                <c:pt idx="1">
                  <c:v>138.157655</c:v>
                </c:pt>
                <c:pt idx="2">
                  <c:v>85.99163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102.7</a:t>
                    </a:r>
                  </a:p>
                </c:rich>
              </c:tx>
              <c:showLegendKey val="0"/>
              <c:showVal val="1"/>
              <c:showCatName val="0"/>
              <c:showSerName val="0"/>
              <c:showPercent val="0"/>
              <c:showBubbleSize val="0"/>
            </c:dLbl>
            <c:dLbl>
              <c:idx val="1"/>
              <c:tx>
                <c:rich>
                  <a:bodyPr/>
                  <a:lstStyle/>
                  <a:p>
                    <a:r>
                      <a:rPr>
                        <a:solidFill>
                          <a:srgbClr val="FFFFFF"/>
                        </a:solidFill>
                      </a:rPr>
                      <a:t>112.1</a:t>
                    </a:r>
                  </a:p>
                </c:rich>
              </c:tx>
              <c:showLegendKey val="0"/>
              <c:showVal val="1"/>
              <c:showCatName val="0"/>
              <c:showSerName val="0"/>
              <c:showPercent val="0"/>
              <c:showBubbleSize val="0"/>
            </c:dLbl>
            <c:dLbl>
              <c:idx val="2"/>
              <c:tx>
                <c:rich>
                  <a:bodyPr/>
                  <a:lstStyle/>
                  <a:p>
                    <a:r>
                      <a:rPr>
                        <a:solidFill>
                          <a:srgbClr val="FFFFFF"/>
                        </a:solidFill>
                      </a:rPr>
                      <a:t>6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2.727682</c:v>
                </c:pt>
                <c:pt idx="1">
                  <c:v>112.145088</c:v>
                </c:pt>
                <c:pt idx="2">
                  <c:v>68.817478</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83.4</a:t>
                    </a:r>
                  </a:p>
                </c:rich>
              </c:tx>
              <c:showLegendKey val="0"/>
              <c:showVal val="1"/>
              <c:showCatName val="0"/>
              <c:showSerName val="0"/>
              <c:showPercent val="0"/>
              <c:showBubbleSize val="0"/>
            </c:dLbl>
            <c:dLbl>
              <c:idx val="1"/>
              <c:tx>
                <c:rich>
                  <a:bodyPr/>
                  <a:lstStyle/>
                  <a:p>
                    <a:r>
                      <a:rPr>
                        <a:solidFill>
                          <a:srgbClr val="FFFFFF"/>
                        </a:solidFill>
                      </a:rPr>
                      <a:t>84.4</a:t>
                    </a:r>
                  </a:p>
                </c:rich>
              </c:tx>
              <c:showLegendKey val="0"/>
              <c:showVal val="1"/>
              <c:showCatName val="0"/>
              <c:showSerName val="0"/>
              <c:showPercent val="0"/>
              <c:showBubbleSize val="0"/>
            </c:dLbl>
            <c:dLbl>
              <c:idx val="2"/>
              <c:tx>
                <c:rich>
                  <a:bodyPr/>
                  <a:lstStyle/>
                  <a:p>
                    <a:r>
                      <a:rPr>
                        <a:solidFill>
                          <a:srgbClr val="FFFFFF"/>
                        </a:solidFill>
                      </a:rPr>
                      <a:t>4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83.377753</c:v>
                </c:pt>
                <c:pt idx="1">
                  <c:v>84.3702</c:v>
                </c:pt>
                <c:pt idx="2">
                  <c:v>45.54136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320.1</a:t>
                    </a:r>
                  </a:p>
                </c:rich>
              </c:tx>
              <c:showLegendKey val="0"/>
              <c:showVal val="1"/>
              <c:showCatName val="0"/>
              <c:showSerName val="0"/>
              <c:showPercent val="0"/>
              <c:showBubbleSize val="0"/>
            </c:dLbl>
            <c:dLbl>
              <c:idx val="1"/>
              <c:tx>
                <c:rich>
                  <a:bodyPr/>
                  <a:lstStyle/>
                  <a:p>
                    <a:r>
                      <a:rPr>
                        <a:solidFill>
                          <a:srgbClr val="FFFFFF"/>
                        </a:solidFill>
                      </a:rPr>
                      <a:t>1318.0</a:t>
                    </a:r>
                  </a:p>
                </c:rich>
              </c:tx>
              <c:showLegendKey val="0"/>
              <c:showVal val="1"/>
              <c:showCatName val="0"/>
              <c:showSerName val="0"/>
              <c:showPercent val="0"/>
              <c:showBubbleSize val="0"/>
            </c:dLbl>
            <c:dLbl>
              <c:idx val="2"/>
              <c:tx>
                <c:rich>
                  <a:bodyPr/>
                  <a:lstStyle/>
                  <a:p>
                    <a:r>
                      <a:rPr>
                        <a:solidFill>
                          <a:srgbClr val="FFFFFF"/>
                        </a:solidFill>
                      </a:rPr>
                      <a:t>84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320.137888</c:v>
                </c:pt>
                <c:pt idx="1">
                  <c:v>1318.029753</c:v>
                </c:pt>
                <c:pt idx="2">
                  <c:v>842.9769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2.194427</c:v>
                </c:pt>
                <c:pt idx="1">
                  <c:v>23.257474</c:v>
                </c:pt>
                <c:pt idx="2">
                  <c:v>14.24540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19935</c:v>
                </c:pt>
                <c:pt idx="1">
                  <c:v>4.236812</c:v>
                </c:pt>
                <c:pt idx="2">
                  <c:v>2.48823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787496</c:v>
                </c:pt>
                <c:pt idx="1">
                  <c:v>2.629076</c:v>
                </c:pt>
                <c:pt idx="2">
                  <c:v>1.58583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45483</c:v>
                </c:pt>
                <c:pt idx="1">
                  <c:v>2.215857</c:v>
                </c:pt>
                <c:pt idx="2">
                  <c:v>1.4252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945843</c:v>
                </c:pt>
                <c:pt idx="1">
                  <c:v>3.188162</c:v>
                </c:pt>
                <c:pt idx="2">
                  <c:v>1.90617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817189</c:v>
                </c:pt>
                <c:pt idx="1">
                  <c:v>1.96474</c:v>
                </c:pt>
                <c:pt idx="2">
                  <c:v>1.37177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080791</c:v>
                </c:pt>
                <c:pt idx="1">
                  <c:v>3.010621</c:v>
                </c:pt>
                <c:pt idx="2">
                  <c:v>1.83705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663143</c:v>
                </c:pt>
                <c:pt idx="1">
                  <c:v>1.737366</c:v>
                </c:pt>
                <c:pt idx="2">
                  <c:v>1.13445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90907</c:v>
                </c:pt>
                <c:pt idx="1">
                  <c:v>0.894561</c:v>
                </c:pt>
                <c:pt idx="2">
                  <c:v>0.560477</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1</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6.307529</c:v>
                </c:pt>
                <c:pt idx="1">
                  <c:v>16.149267</c:v>
                </c:pt>
                <c:pt idx="2">
                  <c:v>10.73231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233.6</a:t>
                    </a:r>
                  </a:p>
                </c:rich>
              </c:tx>
              <c:showLegendKey val="0"/>
              <c:showVal val="1"/>
              <c:showCatName val="0"/>
              <c:showSerName val="0"/>
              <c:showPercent val="0"/>
              <c:showBubbleSize val="0"/>
            </c:dLbl>
            <c:dLbl>
              <c:idx val="1"/>
              <c:tx>
                <c:rich>
                  <a:bodyPr/>
                  <a:lstStyle/>
                  <a:p>
                    <a:r>
                      <a:rPr>
                        <a:solidFill>
                          <a:srgbClr val="FFFFFF"/>
                        </a:solidFill>
                      </a:rPr>
                      <a:t>246.2</a:t>
                    </a:r>
                  </a:p>
                </c:rich>
              </c:tx>
              <c:showLegendKey val="0"/>
              <c:showVal val="1"/>
              <c:showCatName val="0"/>
              <c:showSerName val="0"/>
              <c:showPercent val="0"/>
              <c:showBubbleSize val="0"/>
            </c:dLbl>
            <c:dLbl>
              <c:idx val="2"/>
              <c:tx>
                <c:rich>
                  <a:bodyPr/>
                  <a:lstStyle/>
                  <a:p>
                    <a:r>
                      <a:rPr>
                        <a:solidFill>
                          <a:srgbClr val="FFFFFF"/>
                        </a:solidFill>
                      </a:rPr>
                      <a:t>15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3.623805</c:v>
                </c:pt>
                <c:pt idx="1">
                  <c:v>246.188472</c:v>
                </c:pt>
                <c:pt idx="2">
                  <c:v>152.59677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38.9</a:t>
                    </a:r>
                  </a:p>
                </c:rich>
              </c:tx>
              <c:showLegendKey val="0"/>
              <c:showVal val="1"/>
              <c:showCatName val="0"/>
              <c:showSerName val="0"/>
              <c:showPercent val="0"/>
              <c:showBubbleSize val="0"/>
            </c:dLbl>
            <c:dLbl>
              <c:idx val="1"/>
              <c:tx>
                <c:rich>
                  <a:bodyPr/>
                  <a:lstStyle/>
                  <a:p>
                    <a:r>
                      <a:rPr>
                        <a:solidFill>
                          <a:srgbClr val="FFFFFF"/>
                        </a:solidFill>
                      </a:rPr>
                      <a:t>39.1</a:t>
                    </a:r>
                  </a:p>
                </c:rich>
              </c:tx>
              <c:showLegendKey val="0"/>
              <c:showVal val="1"/>
              <c:showCatName val="0"/>
              <c:showSerName val="0"/>
              <c:showPercent val="0"/>
              <c:showBubbleSize val="0"/>
            </c:dLbl>
            <c:dLbl>
              <c:idx val="2"/>
              <c:tx>
                <c:rich>
                  <a:bodyPr/>
                  <a:lstStyle/>
                  <a:p>
                    <a:r>
                      <a:rPr>
                        <a:solidFill>
                          <a:srgbClr val="FFFFFF"/>
                        </a:solidFill>
                      </a:rPr>
                      <a:t>2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8.912958</c:v>
                </c:pt>
                <c:pt idx="1">
                  <c:v>39.144419</c:v>
                </c:pt>
                <c:pt idx="2">
                  <c:v>23.18249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a:solidFill>
                          <a:srgbClr val="FFFFFF"/>
                        </a:solidFill>
                      </a:rPr>
                      <a:t>35.2</a:t>
                    </a:r>
                  </a:p>
                </c:rich>
              </c:tx>
              <c:showLegendKey val="0"/>
              <c:showVal val="1"/>
              <c:showCatName val="0"/>
              <c:showSerName val="0"/>
              <c:showPercent val="0"/>
              <c:showBubbleSize val="0"/>
            </c:dLbl>
            <c:dLbl>
              <c:idx val="1"/>
              <c:tx>
                <c:rich>
                  <a:bodyPr/>
                  <a:lstStyle/>
                  <a:p>
                    <a:r>
                      <a:rPr>
                        <a:solidFill>
                          <a:srgbClr val="FFFFFF"/>
                        </a:solidFill>
                      </a:rPr>
                      <a:t>33.4</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5.233904</c:v>
                </c:pt>
                <c:pt idx="1">
                  <c:v>33.420054</c:v>
                </c:pt>
                <c:pt idx="2">
                  <c:v>20.10355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0.855018</c:v>
                </c:pt>
                <c:pt idx="1">
                  <c:v>30.667442</c:v>
                </c:pt>
                <c:pt idx="2">
                  <c:v>19.46974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a:solidFill>
                          <a:srgbClr val="FFFFFF"/>
                        </a:solidFill>
                      </a:rPr>
                      <a:t>28.6</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606175</c:v>
                </c:pt>
                <c:pt idx="1">
                  <c:v>30.664652</c:v>
                </c:pt>
                <c:pt idx="2">
                  <c:v>18.292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6.4</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6.367336</c:v>
                </c:pt>
                <c:pt idx="1">
                  <c:v>27.761183</c:v>
                </c:pt>
                <c:pt idx="2">
                  <c:v>18.6254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25.5</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5.509651</c:v>
                </c:pt>
                <c:pt idx="1">
                  <c:v>25.075607</c:v>
                </c:pt>
                <c:pt idx="2">
                  <c:v>15.21323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20.4</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0.410903</c:v>
                </c:pt>
                <c:pt idx="1">
                  <c:v>21.969333</c:v>
                </c:pt>
                <c:pt idx="2">
                  <c:v>14.03265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14.6</a:t>
                    </a:r>
                  </a:p>
                </c:rich>
              </c:tx>
              <c:showLegendKey val="0"/>
              <c:showVal val="1"/>
              <c:showCatName val="0"/>
              <c:showSerName val="0"/>
              <c:showPercent val="0"/>
              <c:showBubbleSize val="0"/>
            </c:dLbl>
            <c:dLbl>
              <c:idx val="1"/>
              <c:tx>
                <c:rich>
                  <a:bodyPr/>
                  <a:lstStyle/>
                  <a:p>
                    <a:r>
                      <a:rPr>
                        <a:solidFill>
                          <a:srgbClr val="FFFFFF"/>
                        </a:solidFill>
                      </a:rPr>
                      <a:t>14.3</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4.626603</c:v>
                </c:pt>
                <c:pt idx="1">
                  <c:v>14.345577</c:v>
                </c:pt>
                <c:pt idx="2">
                  <c:v>8.99468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41.4</a:t>
                    </a:r>
                  </a:p>
                </c:rich>
              </c:tx>
              <c:showLegendKey val="0"/>
              <c:showVal val="1"/>
              <c:showCatName val="0"/>
              <c:showSerName val="0"/>
              <c:showPercent val="0"/>
              <c:showBubbleSize val="0"/>
            </c:dLbl>
            <c:dLbl>
              <c:idx val="1"/>
              <c:tx>
                <c:rich>
                  <a:bodyPr/>
                  <a:lstStyle/>
                  <a:p>
                    <a:r>
                      <a:rPr>
                        <a:solidFill>
                          <a:srgbClr val="FFFFFF"/>
                        </a:solidFill>
                      </a:rPr>
                      <a:t>238.8</a:t>
                    </a:r>
                  </a:p>
                </c:rich>
              </c:tx>
              <c:showLegendKey val="0"/>
              <c:showVal val="1"/>
              <c:showCatName val="0"/>
              <c:showSerName val="0"/>
              <c:showPercent val="0"/>
              <c:showBubbleSize val="0"/>
            </c:dLbl>
            <c:dLbl>
              <c:idx val="2"/>
              <c:tx>
                <c:rich>
                  <a:bodyPr/>
                  <a:lstStyle/>
                  <a:p>
                    <a:r>
                      <a:rPr>
                        <a:solidFill>
                          <a:srgbClr val="FFFFFF"/>
                        </a:solidFill>
                      </a:rPr>
                      <a:t>16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1.408581</c:v>
                </c:pt>
                <c:pt idx="1">
                  <c:v>238.753221</c:v>
                </c:pt>
                <c:pt idx="2">
                  <c:v>159.95643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714142</c:v>
                </c:pt>
                <c:pt idx="1">
                  <c:v>19.377649</c:v>
                </c:pt>
                <c:pt idx="2">
                  <c:v>12.0319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43179</c:v>
                </c:pt>
                <c:pt idx="1">
                  <c:v>3.966357</c:v>
                </c:pt>
                <c:pt idx="2">
                  <c:v>2.45292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66907</c:v>
                </c:pt>
                <c:pt idx="1">
                  <c:v>2.699989</c:v>
                </c:pt>
                <c:pt idx="2">
                  <c:v>1.54375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82829</c:v>
                </c:pt>
                <c:pt idx="1">
                  <c:v>2.052949</c:v>
                </c:pt>
                <c:pt idx="2">
                  <c:v>1.23227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678248</c:v>
                </c:pt>
                <c:pt idx="1">
                  <c:v>1.97841</c:v>
                </c:pt>
                <c:pt idx="2">
                  <c:v>1.46675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896572</c:v>
                </c:pt>
                <c:pt idx="1">
                  <c:v>2.774485</c:v>
                </c:pt>
                <c:pt idx="2">
                  <c:v>1.3882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565805</c:v>
                </c:pt>
                <c:pt idx="1">
                  <c:v>1.922902</c:v>
                </c:pt>
                <c:pt idx="2">
                  <c:v>1.20744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035401</c:v>
                </c:pt>
                <c:pt idx="1">
                  <c:v>1.14287</c:v>
                </c:pt>
                <c:pt idx="2">
                  <c:v>0.779406</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901427</c:v>
                </c:pt>
                <c:pt idx="1">
                  <c:v>1.010782</c:v>
                </c:pt>
                <c:pt idx="2">
                  <c:v>0.56608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6</a:t>
                    </a:r>
                  </a:p>
                </c:rich>
              </c:tx>
              <c:showLegendKey val="0"/>
              <c:showVal val="1"/>
              <c:showCatName val="0"/>
              <c:showSerName val="0"/>
              <c:showPercent val="0"/>
              <c:showBubbleSize val="0"/>
            </c:dLbl>
            <c:dLbl>
              <c:idx val="2"/>
              <c:tx>
                <c:rich>
                  <a:bodyPr/>
                  <a:lstStyle/>
                  <a:p>
                    <a:r>
                      <a:rPr>
                        <a:solidFill>
                          <a:srgbClr val="FFFFFF"/>
                        </a:solidFill>
                      </a:rPr>
                      <a:t>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1.242219</c:v>
                </c:pt>
                <c:pt idx="1">
                  <c:v>11.552414</c:v>
                </c:pt>
                <c:pt idx="2">
                  <c:v>7.7133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159.4</a:t>
                    </a:r>
                  </a:p>
                </c:rich>
              </c:tx>
              <c:showLegendKey val="0"/>
              <c:showVal val="1"/>
              <c:showCatName val="0"/>
              <c:showSerName val="0"/>
              <c:showPercent val="0"/>
              <c:showBubbleSize val="0"/>
            </c:dLbl>
            <c:dLbl>
              <c:idx val="1"/>
              <c:tx>
                <c:rich>
                  <a:bodyPr/>
                  <a:lstStyle/>
                  <a:p>
                    <a:r>
                      <a:rPr>
                        <a:solidFill>
                          <a:srgbClr val="FFFFFF"/>
                        </a:solidFill>
                      </a:rPr>
                      <a:t>179.1</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9.379751</c:v>
                </c:pt>
                <c:pt idx="1">
                  <c:v>179.059334</c:v>
                </c:pt>
                <c:pt idx="2">
                  <c:v>114.2233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esident</c:v>
                </c:pt>
              </c:strCache>
            </c:strRef>
          </c:tx>
          <c:spPr>
            <a:solidFill>
              <a:srgbClr val="A6A6A6"/>
            </a:solidFill>
            <a:ln>
              <a:solidFill>
                <a:schemeClr val="bg1"/>
              </a:solidFill>
            </a:ln>
            <a:effectLst/>
          </c:spPr>
          <c:invertIfNegative val="0"/>
          <c:dLbls>
            <c:dLbl>
              <c:idx val="0"/>
              <c:tx>
                <c:rich>
                  <a:bodyPr/>
                  <a:lstStyle/>
                  <a:p>
                    <a:r>
                      <a:rPr>
                        <a:solidFill>
                          <a:srgbClr val="FFFFFF"/>
                        </a:solidFill>
                      </a:rPr>
                      <a:t>32.5</a:t>
                    </a:r>
                  </a:p>
                </c:rich>
              </c:tx>
              <c:showLegendKey val="0"/>
              <c:showVal val="1"/>
              <c:showCatName val="0"/>
              <c:showSerName val="0"/>
              <c:showPercent val="0"/>
              <c:showBubbleSize val="0"/>
            </c:dLbl>
            <c:dLbl>
              <c:idx val="1"/>
              <c:tx>
                <c:rich>
                  <a:bodyPr/>
                  <a:lstStyle/>
                  <a:p>
                    <a:r>
                      <a:rPr>
                        <a:solidFill>
                          <a:srgbClr val="FFFFFF"/>
                        </a:solidFill>
                      </a:rPr>
                      <a:t>37.9</a:t>
                    </a:r>
                  </a:p>
                </c:rich>
              </c:tx>
              <c:showLegendKey val="0"/>
              <c:showVal val="1"/>
              <c:showCatName val="0"/>
              <c:showSerName val="0"/>
              <c:showPercent val="0"/>
              <c:showBubbleSize val="0"/>
            </c:dLbl>
            <c:dLbl>
              <c:idx val="2"/>
              <c:tx>
                <c:rich>
                  <a:bodyPr/>
                  <a:lstStyle/>
                  <a:p>
                    <a:r>
                      <a:rPr>
                        <a:solidFill>
                          <a:srgbClr val="FFFFFF"/>
                        </a:solidFill>
                      </a:rPr>
                      <a:t>2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2.523735</c:v>
                </c:pt>
                <c:pt idx="1">
                  <c:v>37.865629</c:v>
                </c:pt>
                <c:pt idx="2">
                  <c:v>23.16693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oignon</c:v>
                </c:pt>
              </c:strCache>
            </c:strRef>
          </c:tx>
          <c:spPr>
            <a:solidFill>
              <a:srgbClr val="9B9898"/>
            </a:solidFill>
            <a:ln>
              <a:solidFill>
                <a:schemeClr val="bg1"/>
              </a:solidFill>
            </a:ln>
            <a:effectLst/>
          </c:spPr>
          <c:invertIfNegative val="0"/>
          <c:dLbls>
            <c:dLbl>
              <c:idx val="0"/>
              <c:tx>
                <c:rich>
                  <a:bodyPr/>
                  <a:lstStyle/>
                  <a:p>
                    <a:r>
                      <a:rPr>
                        <a:solidFill>
                          <a:srgbClr val="FFFFFF"/>
                        </a:solidFill>
                      </a:rPr>
                      <a:t>33.1</a:t>
                    </a:r>
                  </a:p>
                </c:rich>
              </c:tx>
              <c:showLegendKey val="0"/>
              <c:showVal val="1"/>
              <c:showCatName val="0"/>
              <c:showSerName val="0"/>
              <c:showPercent val="0"/>
              <c:showBubbleSize val="0"/>
            </c:dLbl>
            <c:dLbl>
              <c:idx val="1"/>
              <c:tx>
                <c:rich>
                  <a:bodyPr/>
                  <a:lstStyle/>
                  <a:p>
                    <a:r>
                      <a:rPr>
                        <a:solidFill>
                          <a:srgbClr val="FFFFFF"/>
                        </a:solidFill>
                      </a:rPr>
                      <a:t>33.4</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3.11099</c:v>
                </c:pt>
                <c:pt idx="1">
                  <c:v>33.387134</c:v>
                </c:pt>
                <c:pt idx="2">
                  <c:v>18.80016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Caprice Des Dieux</c:v>
                </c:pt>
              </c:strCache>
            </c:strRef>
          </c:tx>
          <c:spPr>
            <a:solidFill>
              <a:srgbClr val="7F7F7F"/>
            </a:solidFill>
            <a:ln>
              <a:solidFill>
                <a:schemeClr val="bg1"/>
              </a:solidFill>
            </a:ln>
            <a:effectLst/>
          </c:spPr>
          <c:invertIfNegative val="0"/>
          <c:dLbls>
            <c:dLbl>
              <c:idx val="0"/>
              <c:tx>
                <c:rich>
                  <a:bodyPr/>
                  <a:lstStyle/>
                  <a:p>
                    <a:r>
                      <a:rPr>
                        <a:solidFill>
                          <a:srgbClr val="FFFFFF"/>
                        </a:solidFill>
                      </a:rPr>
                      <a:t>26.1</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6.129636</c:v>
                </c:pt>
                <c:pt idx="1">
                  <c:v>27.757568</c:v>
                </c:pt>
                <c:pt idx="2">
                  <c:v>16.93075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1.7</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1.657387</c:v>
                </c:pt>
                <c:pt idx="1">
                  <c:v>25.08986</c:v>
                </c:pt>
                <c:pt idx="2">
                  <c:v>18.72066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24.2</a:t>
                    </a:r>
                  </a:p>
                </c:rich>
              </c:tx>
              <c:showLegendKey val="0"/>
              <c:showVal val="1"/>
              <c:showCatName val="0"/>
              <c:showSerName val="0"/>
              <c:showPercent val="0"/>
              <c:showBubbleSize val="0"/>
            </c:dLbl>
            <c:dLbl>
              <c:idx val="1"/>
              <c:tx>
                <c:rich>
                  <a:bodyPr/>
                  <a:lstStyle/>
                  <a:p>
                    <a:r>
                      <a:rPr>
                        <a:solidFill>
                          <a:srgbClr val="FFFFFF"/>
                        </a:solidFill>
                      </a:rPr>
                      <a:t>23.7</a:t>
                    </a:r>
                  </a:p>
                </c:rich>
              </c:tx>
              <c:showLegendKey val="0"/>
              <c:showVal val="1"/>
              <c:showCatName val="0"/>
              <c:showSerName val="0"/>
              <c:showPercent val="0"/>
              <c:showBubbleSize val="0"/>
            </c:dLbl>
            <c:dLbl>
              <c:idx val="2"/>
              <c:tx>
                <c:rich>
                  <a:bodyPr/>
                  <a:lstStyle/>
                  <a:p>
                    <a:r>
                      <a:rPr>
                        <a:solidFill>
                          <a:srgbClr val="FFFFFF"/>
                        </a:solidFill>
                      </a:rPr>
                      <a:t>1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4.174882</c:v>
                </c:pt>
                <c:pt idx="1">
                  <c:v>23.720103</c:v>
                </c:pt>
                <c:pt idx="2">
                  <c:v>12.16717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7.3</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7.254324</c:v>
                </c:pt>
                <c:pt idx="1">
                  <c:v>20.287153</c:v>
                </c:pt>
                <c:pt idx="2">
                  <c:v>13.438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13.6</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623653</c:v>
                </c:pt>
                <c:pt idx="1">
                  <c:v>15.786978</c:v>
                </c:pt>
                <c:pt idx="2">
                  <c:v>10.50840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Boursin</c:v>
                </c:pt>
              </c:strCache>
            </c:strRef>
          </c:tx>
          <c:spPr>
            <a:solidFill>
              <a:srgbClr val="B2DFDC"/>
            </a:solidFill>
            <a:ln>
              <a:solidFill>
                <a:schemeClr val="bg1"/>
              </a:solidFill>
            </a:ln>
            <a:effectLst/>
          </c:spPr>
          <c:invertIfNegative val="0"/>
          <c:dLbls>
            <c:dLbl>
              <c:idx val="0"/>
              <c:tx>
                <c:rich>
                  <a:bodyPr/>
                  <a:lstStyle/>
                  <a:p>
                    <a:r>
                      <a:rPr>
                        <a:solidFill>
                          <a:srgbClr val="FFFFFF"/>
                        </a:solidFill>
                      </a:rPr>
                      <a:t>13.5</a:t>
                    </a:r>
                  </a:p>
                </c:rich>
              </c:tx>
              <c:showLegendKey val="0"/>
              <c:showVal val="1"/>
              <c:showCatName val="0"/>
              <c:showSerName val="0"/>
              <c:showPercent val="0"/>
              <c:showBubbleSize val="0"/>
            </c:dLbl>
            <c:dLbl>
              <c:idx val="1"/>
              <c:tx>
                <c:rich>
                  <a:bodyPr/>
                  <a:lstStyle/>
                  <a:p>
                    <a:r>
                      <a:rPr>
                        <a:solidFill>
                          <a:srgbClr val="FFFFFF"/>
                        </a:solidFill>
                      </a:rPr>
                      <a:t>15.2</a:t>
                    </a:r>
                  </a:p>
                </c:rich>
              </c:tx>
              <c:showLegendKey val="0"/>
              <c:showVal val="1"/>
              <c:showCatName val="0"/>
              <c:showSerName val="0"/>
              <c:showPercent val="0"/>
              <c:showBubbleSize val="0"/>
            </c:dLbl>
            <c:dLbl>
              <c:idx val="2"/>
              <c:tx>
                <c:rich>
                  <a:bodyPr/>
                  <a:lstStyle/>
                  <a:p>
                    <a:r>
                      <a:rPr>
                        <a:solidFill>
                          <a:srgbClr val="FFFFFF"/>
                        </a:solidFill>
                      </a:rPr>
                      <a:t>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3.532559</c:v>
                </c:pt>
                <c:pt idx="1">
                  <c:v>15.24897</c:v>
                </c:pt>
                <c:pt idx="2">
                  <c:v>8.832381</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152.5</a:t>
                    </a:r>
                  </a:p>
                </c:rich>
              </c:tx>
              <c:showLegendKey val="0"/>
              <c:showVal val="1"/>
              <c:showCatName val="0"/>
              <c:showSerName val="0"/>
              <c:showPercent val="0"/>
              <c:showBubbleSize val="0"/>
            </c:dLbl>
            <c:dLbl>
              <c:idx val="1"/>
              <c:tx>
                <c:rich>
                  <a:bodyPr/>
                  <a:lstStyle/>
                  <a:p>
                    <a:r>
                      <a:rPr>
                        <a:solidFill>
                          <a:srgbClr val="FFFFFF"/>
                        </a:solidFill>
                      </a:rPr>
                      <a:t>159.4</a:t>
                    </a:r>
                  </a:p>
                </c:rich>
              </c:tx>
              <c:showLegendKey val="0"/>
              <c:showVal val="1"/>
              <c:showCatName val="0"/>
              <c:showSerName val="0"/>
              <c:showPercent val="0"/>
              <c:showBubbleSize val="0"/>
            </c:dLbl>
            <c:dLbl>
              <c:idx val="2"/>
              <c:tx>
                <c:rich>
                  <a:bodyPr/>
                  <a:lstStyle/>
                  <a:p>
                    <a:r>
                      <a:rPr>
                        <a:solidFill>
                          <a:srgbClr val="FFFFFF"/>
                        </a:solidFill>
                      </a:rPr>
                      <a:t>10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52.500856</c:v>
                </c:pt>
                <c:pt idx="1">
                  <c:v>159.360783</c:v>
                </c:pt>
                <c:pt idx="2">
                  <c:v>108.3332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44427</c:v>
                </c:pt>
                <c:pt idx="1">
                  <c:v>7.261687</c:v>
                </c:pt>
                <c:pt idx="2">
                  <c:v>3.9651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6268</c:v>
                </c:pt>
                <c:pt idx="1">
                  <c:v>0.566309</c:v>
                </c:pt>
                <c:pt idx="2">
                  <c:v>0.29610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663803</c:v>
                </c:pt>
                <c:pt idx="1">
                  <c:v>2.486268</c:v>
                </c:pt>
                <c:pt idx="2">
                  <c:v>1.60888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a:solidFill>
                          <a:srgbClr val="FFFFFF"/>
                        </a:solidFill>
                      </a:rPr>
                      <a:t>125.1</a:t>
                    </a:r>
                  </a:p>
                </c:rich>
              </c:tx>
              <c:showLegendKey val="0"/>
              <c:showVal val="1"/>
              <c:showCatName val="0"/>
              <c:showSerName val="0"/>
              <c:showPercent val="0"/>
              <c:showBubbleSize val="0"/>
            </c:dLbl>
            <c:dLbl>
              <c:idx val="1"/>
              <c:tx>
                <c:rich>
                  <a:bodyPr/>
                  <a:lstStyle/>
                  <a:p>
                    <a:r>
                      <a:rPr>
                        <a:solidFill>
                          <a:srgbClr val="FFFFFF"/>
                        </a:solidFill>
                      </a:rPr>
                      <a:t>122.7</a:t>
                    </a:r>
                  </a:p>
                </c:rich>
              </c:tx>
              <c:showLegendKey val="0"/>
              <c:showVal val="1"/>
              <c:showCatName val="0"/>
              <c:showSerName val="0"/>
              <c:showPercent val="0"/>
              <c:showBubbleSize val="0"/>
            </c:dLbl>
            <c:dLbl>
              <c:idx val="2"/>
              <c:tx>
                <c:rich>
                  <a:bodyPr/>
                  <a:lstStyle/>
                  <a:p>
                    <a:r>
                      <a:rPr>
                        <a:solidFill>
                          <a:srgbClr val="FFFFFF"/>
                        </a:solidFill>
                      </a:rPr>
                      <a:t>6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5.138941</c:v>
                </c:pt>
                <c:pt idx="1">
                  <c:v>122.652838</c:v>
                </c:pt>
                <c:pt idx="2">
                  <c:v>68.0197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a:solidFill>
                          <a:srgbClr val="FFFFFF"/>
                        </a:solidFill>
                      </a:rPr>
                      <a:t>20.9</a:t>
                    </a:r>
                  </a:p>
                </c:rich>
              </c:tx>
              <c:showLegendKey val="0"/>
              <c:showVal val="1"/>
              <c:showCatName val="0"/>
              <c:showSerName val="0"/>
              <c:showPercent val="0"/>
              <c:showBubbleSize val="0"/>
            </c:dLbl>
            <c:dLbl>
              <c:idx val="1"/>
              <c:tx>
                <c:rich>
                  <a:bodyPr/>
                  <a:lstStyle/>
                  <a:p>
                    <a:r>
                      <a:rPr>
                        <a:solidFill>
                          <a:srgbClr val="FFFFFF"/>
                        </a:solidFill>
                      </a:rPr>
                      <a:t>19.0</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0.881847</c:v>
                </c:pt>
                <c:pt idx="1">
                  <c:v>18.952393</c:v>
                </c:pt>
                <c:pt idx="2">
                  <c:v>10.07002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63.2</a:t>
                    </a:r>
                  </a:p>
                </c:rich>
              </c:tx>
              <c:showLegendKey val="0"/>
              <c:showVal val="1"/>
              <c:showCatName val="0"/>
              <c:showSerName val="0"/>
              <c:showPercent val="0"/>
              <c:showBubbleSize val="0"/>
            </c:dLbl>
            <c:dLbl>
              <c:idx val="1"/>
              <c:tx>
                <c:rich>
                  <a:bodyPr/>
                  <a:lstStyle/>
                  <a:p>
                    <a:r>
                      <a:rPr>
                        <a:solidFill>
                          <a:srgbClr val="FFFFFF"/>
                        </a:solidFill>
                      </a:rPr>
                      <a:t>59.4</a:t>
                    </a:r>
                  </a:p>
                </c:rich>
              </c:tx>
              <c:showLegendKey val="0"/>
              <c:showVal val="1"/>
              <c:showCatName val="0"/>
              <c:showSerName val="0"/>
              <c:showPercent val="0"/>
              <c:showBubbleSize val="0"/>
            </c:dLbl>
            <c:dLbl>
              <c:idx val="2"/>
              <c:tx>
                <c:rich>
                  <a:bodyPr/>
                  <a:lstStyle/>
                  <a:p>
                    <a:r>
                      <a:rPr>
                        <a:solidFill>
                          <a:srgbClr val="FFFFFF"/>
                        </a:solidFill>
                      </a:rPr>
                      <a:t>3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3.175688</c:v>
                </c:pt>
                <c:pt idx="1">
                  <c:v>59.3946</c:v>
                </c:pt>
                <c:pt idx="2">
                  <c:v>37.1903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00178</c:v>
                </c:pt>
                <c:pt idx="1">
                  <c:v>1.179323</c:v>
                </c:pt>
                <c:pt idx="2">
                  <c:v>0.7158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96048</c:v>
                </c:pt>
                <c:pt idx="1">
                  <c:v>0.095343</c:v>
                </c:pt>
                <c:pt idx="2">
                  <c:v>0.06068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24691</c:v>
                </c:pt>
                <c:pt idx="1">
                  <c:v>0.406363</c:v>
                </c:pt>
                <c:pt idx="2">
                  <c:v>0.26411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a:solidFill>
                          <a:srgbClr val="FFFFFF"/>
                        </a:solidFill>
                      </a:rPr>
                      <a:t>21.8</a:t>
                    </a:r>
                  </a:p>
                </c:rich>
              </c:tx>
              <c:showLegendKey val="0"/>
              <c:showVal val="1"/>
              <c:showCatName val="0"/>
              <c:showSerName val="0"/>
              <c:showPercent val="0"/>
              <c:showBubbleSize val="0"/>
            </c:dLbl>
            <c:dLbl>
              <c:idx val="1"/>
              <c:tx>
                <c:rich>
                  <a:bodyPr/>
                  <a:lstStyle/>
                  <a:p>
                    <a:r>
                      <a:rPr>
                        <a:solidFill>
                          <a:srgbClr val="FFFFFF"/>
                        </a:solidFill>
                      </a:rPr>
                      <a:t>21.4</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83984</c:v>
                </c:pt>
                <c:pt idx="1">
                  <c:v>21.441934</c:v>
                </c:pt>
                <c:pt idx="2">
                  <c:v>13.03632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a:solidFill>
                          <a:srgbClr val="FFFFFF"/>
                        </a:solidFill>
                      </a:rPr>
                      <a:t>3.3</a:t>
                    </a:r>
                  </a:p>
                </c:rich>
              </c:tx>
              <c:showLegendKey val="0"/>
              <c:showVal val="1"/>
              <c:showCatName val="0"/>
              <c:showSerName val="0"/>
              <c:showPercent val="0"/>
              <c:showBubbleSize val="0"/>
            </c:dLbl>
            <c:dLbl>
              <c:idx val="1"/>
              <c:tx>
                <c:rich>
                  <a:bodyPr/>
                  <a:lstStyle/>
                  <a:p>
                    <a:r>
                      <a:rPr>
                        <a:solidFill>
                          <a:srgbClr val="FFFFFF"/>
                        </a:solidFill>
                      </a:rPr>
                      <a:t>3.3</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3.284182</c:v>
                </c:pt>
                <c:pt idx="1">
                  <c:v>3.322966</c:v>
                </c:pt>
                <c:pt idx="2">
                  <c:v>2.12101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11.1</a:t>
                    </a:r>
                  </a:p>
                </c:rich>
              </c:tx>
              <c:showLegendKey val="0"/>
              <c:showVal val="1"/>
              <c:showCatName val="0"/>
              <c:showSerName val="0"/>
              <c:showPercent val="0"/>
              <c:showBubbleSize val="0"/>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074427</c:v>
                </c:pt>
                <c:pt idx="1">
                  <c:v>10.311892</c:v>
                </c:pt>
                <c:pt idx="2">
                  <c:v>6.5371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2862</c:v>
                </c:pt>
                <c:pt idx="1">
                  <c:v>1.324183</c:v>
                </c:pt>
                <c:pt idx="2">
                  <c:v>0.70493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859</c:v>
                </c:pt>
                <c:pt idx="1">
                  <c:v>0.129215</c:v>
                </c:pt>
                <c:pt idx="2">
                  <c:v>0.07019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34808</c:v>
                </c:pt>
                <c:pt idx="1">
                  <c:v>0.406467</c:v>
                </c:pt>
                <c:pt idx="2">
                  <c:v>0.30102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542.5</a:t>
                    </a:r>
                  </a:p>
                </c:rich>
              </c:tx>
              <c:showLegendKey val="0"/>
              <c:showVal val="1"/>
              <c:showCatName val="0"/>
              <c:showSerName val="0"/>
              <c:showPercent val="0"/>
              <c:showBubbleSize val="0"/>
            </c:dLbl>
            <c:dLbl>
              <c:idx val="1"/>
              <c:tx>
                <c:rich>
                  <a:bodyPr/>
                  <a:lstStyle/>
                  <a:p>
                    <a:r>
                      <a:rPr>
                        <a:solidFill>
                          <a:srgbClr val="FFFFFF"/>
                        </a:solidFill>
                      </a:rPr>
                      <a:t>609.4</a:t>
                    </a:r>
                  </a:p>
                </c:rich>
              </c:tx>
              <c:showLegendKey val="0"/>
              <c:showVal val="1"/>
              <c:showCatName val="0"/>
              <c:showSerName val="0"/>
              <c:showPercent val="0"/>
              <c:showBubbleSize val="0"/>
            </c:dLbl>
            <c:dLbl>
              <c:idx val="2"/>
              <c:tx>
                <c:rich>
                  <a:bodyPr/>
                  <a:lstStyle/>
                  <a:p>
                    <a:r>
                      <a:rPr>
                        <a:solidFill>
                          <a:srgbClr val="FFFFFF"/>
                        </a:solidFill>
                      </a:rPr>
                      <a:t>36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2.501619</c:v>
                </c:pt>
                <c:pt idx="1">
                  <c:v>609.446842</c:v>
                </c:pt>
                <c:pt idx="2">
                  <c:v>366.14896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a:solidFill>
                          <a:srgbClr val="FFFFFF"/>
                        </a:solidFill>
                      </a:rPr>
                      <a:t>207.2</a:t>
                    </a:r>
                  </a:p>
                </c:rich>
              </c:tx>
              <c:showLegendKey val="0"/>
              <c:showVal val="1"/>
              <c:showCatName val="0"/>
              <c:showSerName val="0"/>
              <c:showPercent val="0"/>
              <c:showBubbleSize val="0"/>
            </c:dLbl>
            <c:dLbl>
              <c:idx val="1"/>
              <c:tx>
                <c:rich>
                  <a:bodyPr/>
                  <a:lstStyle/>
                  <a:p>
                    <a:r>
                      <a:rPr>
                        <a:solidFill>
                          <a:srgbClr val="FFFFFF"/>
                        </a:solidFill>
                      </a:rPr>
                      <a:t>223.5</a:t>
                    </a:r>
                  </a:p>
                </c:rich>
              </c:tx>
              <c:showLegendKey val="0"/>
              <c:showVal val="1"/>
              <c:showCatName val="0"/>
              <c:showSerName val="0"/>
              <c:showPercent val="0"/>
              <c:showBubbleSize val="0"/>
            </c:dLbl>
            <c:dLbl>
              <c:idx val="2"/>
              <c:tx>
                <c:rich>
                  <a:bodyPr/>
                  <a:lstStyle/>
                  <a:p>
                    <a:r>
                      <a:rPr>
                        <a:solidFill>
                          <a:srgbClr val="FFFFFF"/>
                        </a:solidFill>
                      </a:rPr>
                      <a:t>14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07.209381</c:v>
                </c:pt>
                <c:pt idx="1">
                  <c:v>223.546953</c:v>
                </c:pt>
                <c:pt idx="2">
                  <c:v>142.10467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a:solidFill>
                          <a:srgbClr val="FFFFFF"/>
                        </a:solidFill>
                      </a:rPr>
                      <a:t>188.8</a:t>
                    </a:r>
                  </a:p>
                </c:rich>
              </c:tx>
              <c:showLegendKey val="0"/>
              <c:showVal val="1"/>
              <c:showCatName val="0"/>
              <c:showSerName val="0"/>
              <c:showPercent val="0"/>
              <c:showBubbleSize val="0"/>
            </c:dLbl>
            <c:dLbl>
              <c:idx val="1"/>
              <c:tx>
                <c:rich>
                  <a:bodyPr/>
                  <a:lstStyle/>
                  <a:p>
                    <a:r>
                      <a:rPr>
                        <a:solidFill>
                          <a:srgbClr val="FFFFFF"/>
                        </a:solidFill>
                      </a:rPr>
                      <a:t>187.1</a:t>
                    </a:r>
                  </a:p>
                </c:rich>
              </c:tx>
              <c:showLegendKey val="0"/>
              <c:showVal val="1"/>
              <c:showCatName val="0"/>
              <c:showSerName val="0"/>
              <c:showPercent val="0"/>
              <c:showBubbleSize val="0"/>
            </c:dLbl>
            <c:dLbl>
              <c:idx val="2"/>
              <c:tx>
                <c:rich>
                  <a:bodyPr/>
                  <a:lstStyle/>
                  <a:p>
                    <a:r>
                      <a:rPr>
                        <a:solidFill>
                          <a:srgbClr val="FFFFFF"/>
                        </a:solidFill>
                      </a:rPr>
                      <a:t>11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88.766256</c:v>
                </c:pt>
                <c:pt idx="1">
                  <c:v>187.0733</c:v>
                </c:pt>
                <c:pt idx="2">
                  <c:v>109.97747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94.9</a:t>
                    </a:r>
                  </a:p>
                </c:rich>
              </c:tx>
              <c:showLegendKey val="0"/>
              <c:showVal val="1"/>
              <c:showCatName val="0"/>
              <c:showSerName val="0"/>
              <c:showPercent val="0"/>
              <c:showBubbleSize val="0"/>
            </c:dLbl>
            <c:dLbl>
              <c:idx val="1"/>
              <c:tx>
                <c:rich>
                  <a:bodyPr/>
                  <a:lstStyle/>
                  <a:p>
                    <a:r>
                      <a:rPr>
                        <a:solidFill>
                          <a:srgbClr val="FFFFFF"/>
                        </a:solidFill>
                      </a:rPr>
                      <a:t>104.5</a:t>
                    </a:r>
                  </a:p>
                </c:rich>
              </c:tx>
              <c:showLegendKey val="0"/>
              <c:showVal val="1"/>
              <c:showCatName val="0"/>
              <c:showSerName val="0"/>
              <c:showPercent val="0"/>
              <c:showBubbleSize val="0"/>
            </c:dLbl>
            <c:dLbl>
              <c:idx val="2"/>
              <c:tx>
                <c:rich>
                  <a:bodyPr/>
                  <a:lstStyle/>
                  <a:p>
                    <a:r>
                      <a:rPr>
                        <a:solidFill>
                          <a:srgbClr val="FFFFFF"/>
                        </a:solidFill>
                      </a:rPr>
                      <a:t>6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4.905667</c:v>
                </c:pt>
                <c:pt idx="1">
                  <c:v>104.470169</c:v>
                </c:pt>
                <c:pt idx="2">
                  <c:v>62.657746</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tx>
                <c:rich>
                  <a:bodyPr/>
                  <a:lstStyle/>
                  <a:p>
                    <a:r>
                      <a:rPr>
                        <a:solidFill>
                          <a:srgbClr val="FFFFFF"/>
                        </a:solidFill>
                      </a:rPr>
                      <a:t>56.9</a:t>
                    </a:r>
                  </a:p>
                </c:rich>
              </c:tx>
              <c:showLegendKey val="0"/>
              <c:showVal val="1"/>
              <c:showCatName val="0"/>
              <c:showSerName val="0"/>
              <c:showPercent val="0"/>
              <c:showBubbleSize val="0"/>
            </c:dLbl>
            <c:dLbl>
              <c:idx val="1"/>
              <c:tx>
                <c:rich>
                  <a:bodyPr/>
                  <a:lstStyle/>
                  <a:p>
                    <a:r>
                      <a:rPr>
                        <a:solidFill>
                          <a:srgbClr val="FFFFFF"/>
                        </a:solidFill>
                      </a:rPr>
                      <a:t>63.5</a:t>
                    </a:r>
                  </a:p>
                </c:rich>
              </c:tx>
              <c:showLegendKey val="0"/>
              <c:showVal val="1"/>
              <c:showCatName val="0"/>
              <c:showSerName val="0"/>
              <c:showPercent val="0"/>
              <c:showBubbleSize val="0"/>
            </c:dLbl>
            <c:dLbl>
              <c:idx val="2"/>
              <c:tx>
                <c:rich>
                  <a:bodyPr/>
                  <a:lstStyle/>
                  <a:p>
                    <a:r>
                      <a:rPr>
                        <a:solidFill>
                          <a:srgbClr val="FFFFFF"/>
                        </a:solidFill>
                      </a:rPr>
                      <a:t>3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56.945995</c:v>
                </c:pt>
                <c:pt idx="1">
                  <c:v>63.499516</c:v>
                </c:pt>
                <c:pt idx="2">
                  <c:v>37.3751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42.2</a:t>
                    </a:r>
                  </a:p>
                </c:rich>
              </c:tx>
              <c:showLegendKey val="0"/>
              <c:showVal val="1"/>
              <c:showCatName val="0"/>
              <c:showSerName val="0"/>
              <c:showPercent val="0"/>
              <c:showBubbleSize val="0"/>
            </c:dLbl>
            <c:dLbl>
              <c:idx val="1"/>
              <c:tx>
                <c:rich>
                  <a:bodyPr/>
                  <a:lstStyle/>
                  <a:p>
                    <a:r>
                      <a:rPr>
                        <a:solidFill>
                          <a:srgbClr val="FFFFFF"/>
                        </a:solidFill>
                      </a:rPr>
                      <a:t>43.8</a:t>
                    </a:r>
                  </a:p>
                </c:rich>
              </c:tx>
              <c:showLegendKey val="0"/>
              <c:showVal val="1"/>
              <c:showCatName val="0"/>
              <c:showSerName val="0"/>
              <c:showPercent val="0"/>
              <c:showBubbleSize val="0"/>
            </c:dLbl>
            <c:dLbl>
              <c:idx val="2"/>
              <c:tx>
                <c:rich>
                  <a:bodyPr/>
                  <a:lstStyle/>
                  <a:p>
                    <a:r>
                      <a:rPr>
                        <a:solidFill>
                          <a:srgbClr val="FFFFFF"/>
                        </a:solidFill>
                      </a:rPr>
                      <a:t>2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2.2106</c:v>
                </c:pt>
                <c:pt idx="1">
                  <c:v>43.832984</c:v>
                </c:pt>
                <c:pt idx="2">
                  <c:v>24.9537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92.0</a:t>
                    </a:r>
                  </a:p>
                </c:rich>
              </c:tx>
              <c:showLegendKey val="0"/>
              <c:showVal val="1"/>
              <c:showCatName val="0"/>
              <c:showSerName val="0"/>
              <c:showPercent val="0"/>
              <c:showBubbleSize val="0"/>
            </c:dLbl>
            <c:dLbl>
              <c:idx val="1"/>
              <c:tx>
                <c:rich>
                  <a:bodyPr/>
                  <a:lstStyle/>
                  <a:p>
                    <a:r>
                      <a:rPr>
                        <a:solidFill>
                          <a:srgbClr val="FFFFFF"/>
                        </a:solidFill>
                      </a:rPr>
                      <a:t>105.1</a:t>
                    </a:r>
                  </a:p>
                </c:rich>
              </c:tx>
              <c:showLegendKey val="0"/>
              <c:showVal val="1"/>
              <c:showCatName val="0"/>
              <c:showSerName val="0"/>
              <c:showPercent val="0"/>
              <c:showBubbleSize val="0"/>
            </c:dLbl>
            <c:dLbl>
              <c:idx val="2"/>
              <c:tx>
                <c:rich>
                  <a:bodyPr/>
                  <a:lstStyle/>
                  <a:p>
                    <a:r>
                      <a:rPr>
                        <a:solidFill>
                          <a:srgbClr val="FFFFFF"/>
                        </a:solidFill>
                      </a:rPr>
                      <a:t>7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91.982907</c:v>
                </c:pt>
                <c:pt idx="1">
                  <c:v>105.140118</c:v>
                </c:pt>
                <c:pt idx="2">
                  <c:v>72.1325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Apericube</c:v>
                </c:pt>
              </c:strCache>
            </c:strRef>
          </c:tx>
          <c:spPr>
            <a:solidFill>
              <a:srgbClr val="AEABAB"/>
            </a:solidFill>
            <a:ln>
              <a:solidFill>
                <a:schemeClr val="bg1"/>
              </a:solidFill>
            </a:ln>
            <a:effectLst/>
          </c:spPr>
          <c:invertIfNegative val="0"/>
          <c:dLbls>
            <c:dLbl>
              <c:idx val="0"/>
              <c:tx>
                <c:rich>
                  <a:bodyPr/>
                  <a:lstStyle/>
                  <a:p>
                    <a:r>
                      <a:rPr>
                        <a:solidFill>
                          <a:srgbClr val="FFFFFF"/>
                        </a:solidFill>
                      </a:rPr>
                      <a:t>20.6</a:t>
                    </a:r>
                  </a:p>
                </c:rich>
              </c:tx>
              <c:showLegendKey val="0"/>
              <c:showVal val="1"/>
              <c:showCatName val="0"/>
              <c:showSerName val="0"/>
              <c:showPercent val="0"/>
              <c:showBubbleSize val="0"/>
            </c:dLbl>
            <c:dLbl>
              <c:idx val="1"/>
              <c:tx>
                <c:rich>
                  <a:bodyPr/>
                  <a:lstStyle/>
                  <a:p>
                    <a:r>
                      <a:rPr>
                        <a:solidFill>
                          <a:srgbClr val="FFFFFF"/>
                        </a:solidFill>
                      </a:rPr>
                      <a:t>21.9</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0.573236</c:v>
                </c:pt>
                <c:pt idx="1">
                  <c:v>21.941512</c:v>
                </c:pt>
                <c:pt idx="2">
                  <c:v>12.52205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a:solidFill>
                          <a:srgbClr val="FFFFFF"/>
                        </a:solidFill>
                      </a:rPr>
                      <a:t>4.6</a:t>
                    </a:r>
                  </a:p>
                </c:rich>
              </c:tx>
              <c:showLegendKey val="0"/>
              <c:showVal val="1"/>
              <c:showCatName val="0"/>
              <c:showSerName val="0"/>
              <c:showPercent val="0"/>
              <c:showBubbleSize val="0"/>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641131</c:v>
                </c:pt>
                <c:pt idx="1">
                  <c:v>4.194089</c:v>
                </c:pt>
                <c:pt idx="2">
                  <c:v>2.4295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9.5</a:t>
                    </a:r>
                  </a:p>
                </c:rich>
              </c:tx>
              <c:showLegendKey val="0"/>
              <c:showVal val="1"/>
              <c:showCatName val="0"/>
              <c:showSerName val="0"/>
              <c:showPercent val="0"/>
              <c:showBubbleSize val="0"/>
            </c:dLbl>
            <c:dLbl>
              <c:idx val="1"/>
              <c:tx>
                <c:rich>
                  <a:bodyPr/>
                  <a:lstStyle/>
                  <a:p>
                    <a:r>
                      <a:rPr>
                        <a:solidFill>
                          <a:srgbClr val="FFFFFF"/>
                        </a:solidFill>
                      </a:rPr>
                      <a:t>8.9</a:t>
                    </a:r>
                  </a:p>
                </c:rich>
              </c:tx>
              <c:showLegendKey val="0"/>
              <c:showVal val="1"/>
              <c:showCatName val="0"/>
              <c:showSerName val="0"/>
              <c:showPercent val="0"/>
              <c:showBubbleSize val="0"/>
            </c:dLbl>
            <c:dLbl>
              <c:idx val="2"/>
              <c:tx>
                <c:rich>
                  <a:bodyPr/>
                  <a:lstStyle/>
                  <a:p>
                    <a:r>
                      <a:rPr>
                        <a:solidFill>
                          <a:srgbClr val="FFFFFF"/>
                        </a:solidFill>
                      </a:rPr>
                      <a:t>6.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546676</c:v>
                </c:pt>
                <c:pt idx="1">
                  <c:v>8.899888</c:v>
                </c:pt>
                <c:pt idx="2">
                  <c:v>6.54647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316174</c:v>
                </c:pt>
                <c:pt idx="1">
                  <c:v>23.815442</c:v>
                </c:pt>
                <c:pt idx="2">
                  <c:v>1.72968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73459</c:v>
                </c:pt>
                <c:pt idx="1">
                  <c:v>1.512146</c:v>
                </c:pt>
                <c:pt idx="2">
                  <c:v>0.02155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431021</c:v>
                </c:pt>
                <c:pt idx="1">
                  <c:v>0.443844</c:v>
                </c:pt>
                <c:pt idx="2">
                  <c:v>0.04454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010848</c:v>
                </c:pt>
                <c:pt idx="1">
                  <c:v>10.818048</c:v>
                </c:pt>
                <c:pt idx="2">
                  <c:v>1.3763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154.9</a:t>
                    </a:r>
                  </a:p>
                </c:rich>
              </c:tx>
              <c:showLegendKey val="0"/>
              <c:showVal val="1"/>
              <c:showCatName val="0"/>
              <c:showSerName val="0"/>
              <c:showPercent val="0"/>
              <c:showBubbleSize val="0"/>
            </c:dLbl>
            <c:dLbl>
              <c:idx val="1"/>
              <c:tx>
                <c:rich>
                  <a:bodyPr/>
                  <a:lstStyle/>
                  <a:p>
                    <a:r>
                      <a:rPr>
                        <a:solidFill>
                          <a:srgbClr val="FFFFFF"/>
                        </a:solidFill>
                      </a:rPr>
                      <a:t>158.5</a:t>
                    </a:r>
                  </a:p>
                </c:rich>
              </c:tx>
              <c:showLegendKey val="0"/>
              <c:showVal val="1"/>
              <c:showCatName val="0"/>
              <c:showSerName val="0"/>
              <c:showPercent val="0"/>
              <c:showBubbleSize val="0"/>
            </c:dLbl>
            <c:dLbl>
              <c:idx val="2"/>
              <c:tx>
                <c:rich>
                  <a:bodyPr/>
                  <a:lstStyle/>
                  <a:p>
                    <a:r>
                      <a:rPr>
                        <a:solidFill>
                          <a:srgbClr val="FFFFFF"/>
                        </a:solidFill>
                      </a:rPr>
                      <a:t>1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4.869201</c:v>
                </c:pt>
                <c:pt idx="1">
                  <c:v>158.541342</c:v>
                </c:pt>
                <c:pt idx="2">
                  <c:v>11.34080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a:solidFill>
                          <a:srgbClr val="FFFFFF"/>
                        </a:solidFill>
                      </a:rPr>
                      <a:t>13.1</a:t>
                    </a:r>
                  </a:p>
                </c:rich>
              </c:tx>
              <c:showLegendKey val="0"/>
              <c:showVal val="1"/>
              <c:showCatName val="0"/>
              <c:showSerName val="0"/>
              <c:showPercent val="0"/>
              <c:showBubbleSize val="0"/>
            </c:dLbl>
            <c:dLbl>
              <c:idx val="1"/>
              <c:tx>
                <c:rich>
                  <a:bodyPr/>
                  <a:lstStyle/>
                  <a:p>
                    <a:r>
                      <a:rPr>
                        <a:solidFill>
                          <a:srgbClr val="FFFFFF"/>
                        </a:solidFill>
                      </a:rPr>
                      <a:t>13.5</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112929</c:v>
                </c:pt>
                <c:pt idx="1">
                  <c:v>13.49563</c:v>
                </c:pt>
                <c:pt idx="2">
                  <c:v>0.18880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516892</c:v>
                </c:pt>
                <c:pt idx="1">
                  <c:v>4.674968</c:v>
                </c:pt>
                <c:pt idx="2">
                  <c:v>0.49168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99.9</a:t>
                    </a:r>
                  </a:p>
                </c:rich>
              </c:tx>
              <c:showLegendKey val="0"/>
              <c:showVal val="1"/>
              <c:showCatName val="0"/>
              <c:showSerName val="0"/>
              <c:showPercent val="0"/>
              <c:showBubbleSize val="0"/>
            </c:dLbl>
            <c:dLbl>
              <c:idx val="1"/>
              <c:tx>
                <c:rich>
                  <a:bodyPr/>
                  <a:lstStyle/>
                  <a:p>
                    <a:r>
                      <a:rPr>
                        <a:solidFill>
                          <a:srgbClr val="FFFFFF"/>
                        </a:solidFill>
                      </a:rPr>
                      <a:t>104.7</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9.937149</c:v>
                </c:pt>
                <c:pt idx="1">
                  <c:v>104.749803</c:v>
                </c:pt>
                <c:pt idx="2">
                  <c:v>12.49379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18473</c:v>
                </c:pt>
                <c:pt idx="1">
                  <c:v>0.471105</c:v>
                </c:pt>
                <c:pt idx="2">
                  <c:v>0.00674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70054</c:v>
                </c:pt>
                <c:pt idx="1">
                  <c:v>0.069177</c:v>
                </c:pt>
                <c:pt idx="2">
                  <c:v>0.00140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69367</c:v>
                </c:pt>
                <c:pt idx="1">
                  <c:v>4.366189</c:v>
                </c:pt>
                <c:pt idx="2">
                  <c:v>0.06596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a:solidFill>
                          <a:srgbClr val="FFFFFF"/>
                        </a:solidFill>
                      </a:rPr>
                      <a:t>4.5</a:t>
                    </a:r>
                  </a:p>
                </c:rich>
              </c:tx>
              <c:showLegendKey val="0"/>
              <c:showVal val="1"/>
              <c:showCatName val="0"/>
              <c:showSerName val="0"/>
              <c:showPercent val="0"/>
              <c:showBubbleSize val="0"/>
            </c:dLbl>
            <c:dLbl>
              <c:idx val="1"/>
              <c:tx>
                <c:rich>
                  <a:bodyPr/>
                  <a:lstStyle/>
                  <a:p>
                    <a:r>
                      <a:rPr>
                        <a:solidFill>
                          <a:srgbClr val="FFFFFF"/>
                        </a:solidFill>
                      </a:rPr>
                      <a:t>4.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488498</c:v>
                </c:pt>
                <c:pt idx="1">
                  <c:v>4.148582</c:v>
                </c:pt>
                <c:pt idx="2">
                  <c:v>0.059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a:solidFill>
                          <a:srgbClr val="FFFFFF"/>
                        </a:solidFill>
                      </a:rPr>
                      <a:t>0.8</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793002</c:v>
                </c:pt>
                <c:pt idx="1">
                  <c:v>0.773903</c:v>
                </c:pt>
                <c:pt idx="2">
                  <c:v>0.0158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Others</c:v>
                </c:pt>
              </c:strCache>
            </c:strRef>
          </c:tx>
          <c:spPr>
            <a:solidFill>
              <a:srgbClr val="9B9898"/>
            </a:solidFill>
            <a:ln>
              <a:solidFill>
                <a:schemeClr val="bg1"/>
              </a:solidFill>
            </a:ln>
            <a:effectLst/>
          </c:spPr>
          <c:invertIfNegative val="0"/>
          <c:dLbls>
            <c:dLbl>
              <c:idx val="0"/>
              <c:tx>
                <c:rich>
                  <a:bodyPr/>
                  <a:lstStyle/>
                  <a:p>
                    <a:r>
                      <a:rPr>
                        <a:solidFill>
                          <a:srgbClr val="FFFFFF"/>
                        </a:solidFill>
                      </a:rPr>
                      <a:t>34.0</a:t>
                    </a:r>
                  </a:p>
                </c:rich>
              </c:tx>
              <c:showLegendKey val="0"/>
              <c:showVal val="1"/>
              <c:showCatName val="0"/>
              <c:showSerName val="0"/>
              <c:showPercent val="0"/>
              <c:showBubbleSize val="0"/>
            </c:dLbl>
            <c:dLbl>
              <c:idx val="1"/>
              <c:tx>
                <c:rich>
                  <a:bodyPr/>
                  <a:lstStyle/>
                  <a:p>
                    <a:r>
                      <a:rPr>
                        <a:solidFill>
                          <a:srgbClr val="FFFFFF"/>
                        </a:solidFill>
                      </a:rPr>
                      <a:t>34.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038024</c:v>
                </c:pt>
                <c:pt idx="1">
                  <c:v>34.89646</c:v>
                </c:pt>
                <c:pt idx="2">
                  <c:v>0.50990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15478</c:v>
                </c:pt>
                <c:pt idx="1">
                  <c:v>2.470934</c:v>
                </c:pt>
                <c:pt idx="2">
                  <c:v>1.4280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060921</c:v>
                </c:pt>
                <c:pt idx="1">
                  <c:v>0.060451</c:v>
                </c:pt>
                <c:pt idx="2">
                  <c:v>0.03698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18531</c:v>
                </c:pt>
                <c:pt idx="1">
                  <c:v>0.000388</c:v>
                </c:pt>
                <c:pt idx="2">
                  <c:v>7e-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19956</c:v>
                </c:pt>
                <c:pt idx="1">
                  <c:v>1.961207</c:v>
                </c:pt>
                <c:pt idx="2">
                  <c:v>1.24606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14.7</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71271</c:v>
                </c:pt>
                <c:pt idx="1">
                  <c:v>15.809905</c:v>
                </c:pt>
                <c:pt idx="2">
                  <c:v>9.36601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Boursin</c:v>
                </c:pt>
              </c:strCache>
            </c:strRef>
          </c:tx>
          <c:spPr>
            <a:solidFill>
              <a:srgbClr val="006C6D"/>
            </a:solidFill>
            <a:ln>
              <a:solidFill>
                <a:schemeClr val="bg1"/>
              </a:solidFill>
            </a:ln>
            <a:effectLst/>
          </c:spPr>
          <c:invertIfNegative val="0"/>
          <c:dLbls>
            <c:dLbl>
              <c:idx val="0"/>
              <c:tx>
                <c:rich>
                  <a:bodyPr/>
                  <a:lstStyle/>
                  <a:p>
                    <a:r>
                      <a:rPr>
                        <a:solidFill>
                          <a:srgbClr val="FFFFFF"/>
                        </a:solidFill>
                      </a:rPr>
                      <a:t>0.6</a:t>
                    </a:r>
                  </a:p>
                </c:rich>
              </c:tx>
              <c:showLegendKey val="0"/>
              <c:showVal val="1"/>
              <c:showCatName val="0"/>
              <c:showSerName val="0"/>
              <c:showPercent val="0"/>
              <c:showBubbleSize val="0"/>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2246</c:v>
                </c:pt>
                <c:pt idx="1">
                  <c:v>0.657061</c:v>
                </c:pt>
                <c:pt idx="2">
                  <c:v>0.41182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tx>
                <c:rich>
                  <a:bodyPr/>
                  <a:lstStyle/>
                  <a:p>
                    <a:r>
                      <a:rPr>
                        <a:solidFill>
                          <a:srgbClr val="FFFFFF"/>
                        </a:solidFill>
                      </a:rPr>
                      <a:t>0.2</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32083</c:v>
                </c:pt>
                <c:pt idx="1">
                  <c:v>0.003479</c:v>
                </c:pt>
                <c:pt idx="2">
                  <c:v>4.7e-0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5.3</a:t>
                    </a:r>
                  </a:p>
                </c:rich>
              </c:tx>
              <c:showLegendKey val="0"/>
              <c:showVal val="1"/>
              <c:showCatName val="0"/>
              <c:showSerName val="0"/>
              <c:showPercent val="0"/>
              <c:showBubbleSize val="0"/>
            </c:dLbl>
            <c:dLbl>
              <c:idx val="1"/>
              <c:tx>
                <c:rich>
                  <a:bodyPr/>
                  <a:lstStyle/>
                  <a:p>
                    <a:r>
                      <a:rPr>
                        <a:solidFill>
                          <a:srgbClr val="FFFFFF"/>
                        </a:solidFill>
                      </a:rPr>
                      <a:t>17.7</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254296</c:v>
                </c:pt>
                <c:pt idx="1">
                  <c:v>17.729818</c:v>
                </c:pt>
                <c:pt idx="2">
                  <c:v>11.23037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ini Baby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690825</c:v>
                </c:pt>
                <c:pt idx="1">
                  <c:v>8.735471</c:v>
                </c:pt>
                <c:pt idx="2">
                  <c:v>4.5112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4</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909874</c:v>
                </c:pt>
                <c:pt idx="1">
                  <c:v>13.394212</c:v>
                </c:pt>
                <c:pt idx="2">
                  <c:v>8.32719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796487</c:v>
                </c:pt>
                <c:pt idx="1">
                  <c:v>8.103557</c:v>
                </c:pt>
                <c:pt idx="2">
                  <c:v>5.1318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Private Label</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367591</c:v>
                </c:pt>
                <c:pt idx="1">
                  <c:v>13.341937</c:v>
                </c:pt>
                <c:pt idx="2">
                  <c:v>7.4537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017688</c:v>
                </c:pt>
                <c:pt idx="1">
                  <c:v>2.897775</c:v>
                </c:pt>
                <c:pt idx="2">
                  <c:v>1.7348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ini Babybel</c:v>
                </c:pt>
              </c:strCache>
            </c:strRef>
          </c:tx>
          <c:spPr>
            <a:solidFill>
              <a:srgbClr val="AEABAB"/>
            </a:solidFill>
            <a:ln>
              <a:solidFill>
                <a:schemeClr val="bg1"/>
              </a:solidFill>
            </a:ln>
            <a:effectLst/>
          </c:spPr>
          <c:invertIfNegative val="0"/>
          <c:dLbls>
            <c:dLbl>
              <c:idx val="0"/>
              <c:tx>
                <c:rich>
                  <a:bodyPr/>
                  <a:lstStyle/>
                  <a:p>
                    <a:r>
                      <a:rPr>
                        <a:solidFill>
                          <a:srgbClr val="FFFFFF"/>
                        </a:solidFill>
                      </a:rPr>
                      <a:t>137.8</a:t>
                    </a:r>
                  </a:p>
                </c:rich>
              </c:tx>
              <c:showLegendKey val="0"/>
              <c:showVal val="1"/>
              <c:showCatName val="0"/>
              <c:showSerName val="0"/>
              <c:showPercent val="0"/>
              <c:showBubbleSize val="0"/>
            </c:dLbl>
            <c:dLbl>
              <c:idx val="1"/>
              <c:tx>
                <c:rich>
                  <a:bodyPr/>
                  <a:lstStyle/>
                  <a:p>
                    <a:r>
                      <a:rPr>
                        <a:solidFill>
                          <a:srgbClr val="FFFFFF"/>
                        </a:solidFill>
                      </a:rPr>
                      <a:t>139.5</a:t>
                    </a:r>
                  </a:p>
                </c:rich>
              </c:tx>
              <c:showLegendKey val="0"/>
              <c:showVal val="1"/>
              <c:showCatName val="0"/>
              <c:showSerName val="0"/>
              <c:showPercent val="0"/>
              <c:showBubbleSize val="0"/>
            </c:dLbl>
            <c:dLbl>
              <c:idx val="2"/>
              <c:tx>
                <c:rich>
                  <a:bodyPr/>
                  <a:lstStyle/>
                  <a:p>
                    <a:r>
                      <a:rPr>
                        <a:solidFill>
                          <a:srgbClr val="FFFFFF"/>
                        </a:solidFill>
                      </a:rPr>
                      <a:t>7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37.785151</c:v>
                </c:pt>
                <c:pt idx="1">
                  <c:v>139.53867</c:v>
                </c:pt>
                <c:pt idx="2">
                  <c:v>77.3025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a:solidFill>
                          <a:srgbClr val="FFFFFF"/>
                        </a:solidFill>
                      </a:rPr>
                      <a:t>125.2</a:t>
                    </a:r>
                  </a:p>
                </c:rich>
              </c:tx>
              <c:showLegendKey val="0"/>
              <c:showVal val="1"/>
              <c:showCatName val="0"/>
              <c:showSerName val="0"/>
              <c:showPercent val="0"/>
              <c:showBubbleSize val="0"/>
            </c:dLbl>
            <c:dLbl>
              <c:idx val="1"/>
              <c:tx>
                <c:rich>
                  <a:bodyPr/>
                  <a:lstStyle/>
                  <a:p>
                    <a:r>
                      <a:rPr>
                        <a:solidFill>
                          <a:srgbClr val="FFFFFF"/>
                        </a:solidFill>
                      </a:rPr>
                      <a:t>138.2</a:t>
                    </a:r>
                  </a:p>
                </c:rich>
              </c:tx>
              <c:showLegendKey val="0"/>
              <c:showVal val="1"/>
              <c:showCatName val="0"/>
              <c:showSerName val="0"/>
              <c:showPercent val="0"/>
              <c:showBubbleSize val="0"/>
            </c:dLbl>
            <c:dLbl>
              <c:idx val="2"/>
              <c:tx>
                <c:rich>
                  <a:bodyPr/>
                  <a:lstStyle/>
                  <a:p>
                    <a:r>
                      <a:rPr>
                        <a:solidFill>
                          <a:srgbClr val="FFFFFF"/>
                        </a:solidFill>
                      </a:rPr>
                      <a:t>8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5.196494</c:v>
                </c:pt>
                <c:pt idx="1">
                  <c:v>138.157614</c:v>
                </c:pt>
                <c:pt idx="2">
                  <c:v>85.99159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a:solidFill>
                          <a:srgbClr val="FFFFFF"/>
                        </a:solidFill>
                      </a:rPr>
                      <a:t>99.9</a:t>
                    </a:r>
                  </a:p>
                </c:rich>
              </c:tx>
              <c:showLegendKey val="0"/>
              <c:showVal val="1"/>
              <c:showCatName val="0"/>
              <c:showSerName val="0"/>
              <c:showPercent val="0"/>
              <c:showBubbleSize val="0"/>
            </c:dLbl>
            <c:dLbl>
              <c:idx val="1"/>
              <c:tx>
                <c:rich>
                  <a:bodyPr/>
                  <a:lstStyle/>
                  <a:p>
                    <a:r>
                      <a:rPr>
                        <a:solidFill>
                          <a:srgbClr val="FFFFFF"/>
                        </a:solidFill>
                      </a:rPr>
                      <a:t>106.0</a:t>
                    </a:r>
                  </a:p>
                </c:rich>
              </c:tx>
              <c:showLegendKey val="0"/>
              <c:showVal val="1"/>
              <c:showCatName val="0"/>
              <c:showSerName val="0"/>
              <c:showPercent val="0"/>
              <c:showBubbleSize val="0"/>
            </c:dLbl>
            <c:dLbl>
              <c:idx val="2"/>
              <c:tx>
                <c:rich>
                  <a:bodyPr/>
                  <a:lstStyle/>
                  <a:p>
                    <a:r>
                      <a:rPr>
                        <a:solidFill>
                          <a:srgbClr val="FFFFFF"/>
                        </a:solidFill>
                      </a:rPr>
                      <a:t>6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9.904604</c:v>
                </c:pt>
                <c:pt idx="1">
                  <c:v>106.008905</c:v>
                </c:pt>
                <c:pt idx="2">
                  <c:v>65.45901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Private Label</c:v>
                </c:pt>
              </c:strCache>
            </c:strRef>
          </c:tx>
          <c:spPr>
            <a:solidFill>
              <a:srgbClr val="7F7F7F"/>
            </a:solidFill>
            <a:ln>
              <a:solidFill>
                <a:schemeClr val="bg1"/>
              </a:solidFill>
            </a:ln>
            <a:effectLst/>
          </c:spPr>
          <c:invertIfNegative val="0"/>
          <c:dLbls>
            <c:dLbl>
              <c:idx val="0"/>
              <c:tx>
                <c:rich>
                  <a:bodyPr/>
                  <a:lstStyle/>
                  <a:p>
                    <a:r>
                      <a:rPr>
                        <a:solidFill>
                          <a:srgbClr val="FFFFFF"/>
                        </a:solidFill>
                      </a:rPr>
                      <a:t>93.2</a:t>
                    </a:r>
                  </a:p>
                </c:rich>
              </c:tx>
              <c:showLegendKey val="0"/>
              <c:showVal val="1"/>
              <c:showCatName val="0"/>
              <c:showSerName val="0"/>
              <c:showPercent val="0"/>
              <c:showBubbleSize val="0"/>
            </c:dLbl>
            <c:dLbl>
              <c:idx val="1"/>
              <c:tx>
                <c:rich>
                  <a:bodyPr/>
                  <a:lstStyle/>
                  <a:p>
                    <a:r>
                      <a:rPr>
                        <a:solidFill>
                          <a:srgbClr val="FFFFFF"/>
                        </a:solidFill>
                      </a:rPr>
                      <a:t>99.9</a:t>
                    </a:r>
                  </a:p>
                </c:rich>
              </c:tx>
              <c:showLegendKey val="0"/>
              <c:showVal val="1"/>
              <c:showCatName val="0"/>
              <c:showSerName val="0"/>
              <c:showPercent val="0"/>
              <c:showBubbleSize val="0"/>
            </c:dLbl>
            <c:dLbl>
              <c:idx val="2"/>
              <c:tx>
                <c:rich>
                  <a:bodyPr/>
                  <a:lstStyle/>
                  <a:p>
                    <a:r>
                      <a:rPr>
                        <a:solidFill>
                          <a:srgbClr val="FFFFFF"/>
                        </a:solidFill>
                      </a:rPr>
                      <a:t>5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3.170103</c:v>
                </c:pt>
                <c:pt idx="1">
                  <c:v>99.86332</c:v>
                </c:pt>
                <c:pt idx="2">
                  <c:v>55.85793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4.6</a:t>
                    </a:r>
                  </a:p>
                </c:rich>
              </c:tx>
              <c:showLegendKey val="0"/>
              <c:showVal val="1"/>
              <c:showCatName val="0"/>
              <c:showSerName val="0"/>
              <c:showPercent val="0"/>
              <c:showBubbleSize val="0"/>
            </c:dLbl>
            <c:dLbl>
              <c:idx val="1"/>
              <c:tx>
                <c:rich>
                  <a:bodyPr/>
                  <a:lstStyle/>
                  <a:p>
                    <a:r>
                      <a:rPr>
                        <a:solidFill>
                          <a:srgbClr val="FFFFFF"/>
                        </a:solidFill>
                      </a:rPr>
                      <a:t>54.7</a:t>
                    </a:r>
                  </a:p>
                </c:rich>
              </c:tx>
              <c:showLegendKey val="0"/>
              <c:showVal val="1"/>
              <c:showCatName val="0"/>
              <c:showSerName val="0"/>
              <c:showPercent val="0"/>
              <c:showBubbleSize val="0"/>
            </c:dLbl>
            <c:dLbl>
              <c:idx val="2"/>
              <c:tx>
                <c:rich>
                  <a:bodyPr/>
                  <a:lstStyle/>
                  <a:p>
                    <a:r>
                      <a:rPr>
                        <a:solidFill>
                          <a:srgbClr val="FFFFFF"/>
                        </a:solidFill>
                      </a:rPr>
                      <a:t>3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54.611295</c:v>
                </c:pt>
                <c:pt idx="1">
                  <c:v>54.687406</c:v>
                </c:pt>
                <c:pt idx="2">
                  <c:v>34.56561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45843</c:v>
                </c:pt>
                <c:pt idx="1">
                  <c:v>3.188156</c:v>
                </c:pt>
                <c:pt idx="2">
                  <c:v>1.90617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39348</c:v>
                </c:pt>
                <c:pt idx="1">
                  <c:v>1.503334</c:v>
                </c:pt>
                <c:pt idx="2">
                  <c:v>0.80569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98698</c:v>
                </c:pt>
                <c:pt idx="1">
                  <c:v>1.638781</c:v>
                </c:pt>
                <c:pt idx="2">
                  <c:v>1.08034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6988</c:v>
                </c:pt>
                <c:pt idx="1">
                  <c:v>1.665074</c:v>
                </c:pt>
                <c:pt idx="2">
                  <c:v>1.05201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6.4</a:t>
                    </a:r>
                  </a:p>
                </c:rich>
              </c:tx>
              <c:showLegendKey val="0"/>
              <c:showVal val="1"/>
              <c:showCatName val="0"/>
              <c:showSerName val="0"/>
              <c:showPercent val="0"/>
              <c:showBubbleSize val="0"/>
            </c:dLbl>
            <c:dLbl>
              <c:idx val="2"/>
              <c:tx>
                <c:rich>
                  <a:bodyPr/>
                  <a:lstStyle/>
                  <a:p>
                    <a:r>
                      <a:rPr>
                        <a:solidFill>
                          <a:srgbClr val="FFFFFF"/>
                        </a:solidFill>
                      </a:rPr>
                      <a:t>10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5.424021</c:v>
                </c:pt>
                <c:pt idx="1">
                  <c:v>176.390376</c:v>
                </c:pt>
                <c:pt idx="2">
                  <c:v>106.39840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5.9</a:t>
                    </a:r>
                  </a:p>
                </c:rich>
              </c:tx>
              <c:showLegendKey val="0"/>
              <c:showVal val="1"/>
              <c:showCatName val="0"/>
              <c:showSerName val="0"/>
              <c:showPercent val="0"/>
              <c:showBubbleSize val="0"/>
            </c:dLbl>
            <c:dLbl>
              <c:idx val="2"/>
              <c:tx>
                <c:rich>
                  <a:bodyPr/>
                  <a:lstStyle/>
                  <a:p>
                    <a:r>
                      <a:rPr>
                        <a:solidFill>
                          <a:srgbClr val="FFFFFF"/>
                        </a:solidFill>
                      </a:rPr>
                      <a:t>3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7.082817</c:v>
                </c:pt>
                <c:pt idx="1">
                  <c:v>65.933732</c:v>
                </c:pt>
                <c:pt idx="2">
                  <c:v>39.15302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5</a:t>
                    </a:r>
                  </a:p>
                </c:rich>
              </c:tx>
              <c:showLegendKey val="0"/>
              <c:showVal val="1"/>
              <c:showCatName val="0"/>
              <c:showSerName val="0"/>
              <c:showPercent val="0"/>
              <c:showBubbleSize val="0"/>
            </c:dLbl>
            <c:dLbl>
              <c:idx val="2"/>
              <c:tx>
                <c:rich>
                  <a:bodyPr/>
                  <a:lstStyle/>
                  <a:p>
                    <a:r>
                      <a:rPr>
                        <a:solidFill>
                          <a:srgbClr val="FFFFFF"/>
                        </a:solidFill>
                      </a:rPr>
                      <a:t>29.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8.209107</c:v>
                </c:pt>
                <c:pt idx="1">
                  <c:v>47.518244</c:v>
                </c:pt>
                <c:pt idx="2">
                  <c:v>29.91317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1</a:t>
                    </a:r>
                  </a:p>
                </c:rich>
              </c:tx>
              <c:showLegendKey val="0"/>
              <c:showVal val="1"/>
              <c:showCatName val="0"/>
              <c:showSerName val="0"/>
              <c:showPercent val="0"/>
              <c:showBubbleSize val="0"/>
            </c:dLbl>
            <c:dLbl>
              <c:idx val="2"/>
              <c:tx>
                <c:rich>
                  <a:bodyPr/>
                  <a:lstStyle/>
                  <a:p>
                    <a:r>
                      <a:rPr>
                        <a:solidFill>
                          <a:srgbClr val="FFFFFF"/>
                        </a:solidFill>
                      </a:rPr>
                      <a:t>2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4.065748</c:v>
                </c:pt>
                <c:pt idx="1">
                  <c:v>36.139534</c:v>
                </c:pt>
                <c:pt idx="2">
                  <c:v>21.13576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3</a:t>
                    </a:r>
                  </a:p>
                </c:rich>
              </c:tx>
              <c:showLegendKey val="0"/>
              <c:showVal val="1"/>
              <c:showCatName val="0"/>
              <c:showSerName val="0"/>
              <c:showPercent val="0"/>
              <c:showBubbleSize val="0"/>
            </c:dLbl>
            <c:dLbl>
              <c:idx val="2"/>
              <c:tx>
                <c:rich>
                  <a:bodyPr/>
                  <a:lstStyle/>
                  <a:p>
                    <a:r>
                      <a:rPr>
                        <a:solidFill>
                          <a:srgbClr val="FFFFFF"/>
                        </a:solidFill>
                      </a:rPr>
                      <a:t>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220158</c:v>
                </c:pt>
                <c:pt idx="1">
                  <c:v>17.295658</c:v>
                </c:pt>
                <c:pt idx="2">
                  <c:v>9.758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8.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9.8</a:t>
                    </a:r>
                  </a:p>
                </c:rich>
              </c:tx>
              <c:showLegendKey val="0"/>
              <c:showVal val="1"/>
              <c:showCatName val="0"/>
              <c:showSerName val="0"/>
              <c:showPercent val="0"/>
              <c:showBubbleSize val="0"/>
            </c:dLbl>
            <c:dLbl>
              <c:idx val="2"/>
              <c:tx>
                <c:rich>
                  <a:bodyPr/>
                  <a:lstStyle/>
                  <a:p>
                    <a:r>
                      <a:rPr>
                        <a:solidFill>
                          <a:srgbClr val="FFFFFF"/>
                        </a:solidFill>
                      </a:rPr>
                      <a:t>2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7.986158</c:v>
                </c:pt>
                <c:pt idx="1">
                  <c:v>39.804117</c:v>
                </c:pt>
                <c:pt idx="2">
                  <c:v>26.5575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a:solidFill>
                          <a:srgbClr val="FFFFFF"/>
                        </a:solidFill>
                      </a:rPr>
                      <a:t>28.6</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8.606175</c:v>
                </c:pt>
                <c:pt idx="1">
                  <c:v>30.664611</c:v>
                </c:pt>
                <c:pt idx="2">
                  <c:v>18.2923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a:solidFill>
                          <a:srgbClr val="FFFFFF"/>
                        </a:solidFill>
                      </a:rPr>
                      <a:t>23.6</a:t>
                    </a:r>
                  </a:p>
                </c:rich>
              </c:tx>
              <c:showLegendKey val="0"/>
              <c:showVal val="1"/>
              <c:showCatName val="0"/>
              <c:showSerName val="0"/>
              <c:showPercent val="0"/>
              <c:showBubbleSize val="0"/>
            </c:dLbl>
            <c:dLbl>
              <c:idx val="1"/>
              <c:tx>
                <c:rich>
                  <a:bodyPr/>
                  <a:lstStyle/>
                  <a:p>
                    <a:r>
                      <a:rPr>
                        <a:solidFill>
                          <a:srgbClr val="FFFFFF"/>
                        </a:solidFill>
                      </a:rPr>
                      <a:t>23.1</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3.567103</c:v>
                </c:pt>
                <c:pt idx="1">
                  <c:v>23.055122</c:v>
                </c:pt>
                <c:pt idx="2">
                  <c:v>13.4995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a:solidFill>
                          <a:srgbClr val="FFFFFF"/>
                        </a:solidFill>
                      </a:rPr>
                      <a:t>19.4</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361645</c:v>
                </c:pt>
                <c:pt idx="1">
                  <c:v>20.265773</c:v>
                </c:pt>
                <c:pt idx="2">
                  <c:v>13.1012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9.9</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917561</c:v>
                </c:pt>
                <c:pt idx="1">
                  <c:v>19.967951</c:v>
                </c:pt>
                <c:pt idx="2">
                  <c:v>12.777548</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5805</c:v>
                </c:pt>
                <c:pt idx="1">
                  <c:v>1.922902</c:v>
                </c:pt>
                <c:pt idx="2">
                  <c:v>1.20744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26806</c:v>
                </c:pt>
                <c:pt idx="1">
                  <c:v>1.212951</c:v>
                </c:pt>
                <c:pt idx="2">
                  <c:v>0.64049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18398</c:v>
                </c:pt>
                <c:pt idx="1">
                  <c:v>1.092851</c:v>
                </c:pt>
                <c:pt idx="2">
                  <c:v>0.7565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686</c:v>
                </c:pt>
                <c:pt idx="1">
                  <c:v>1.673669</c:v>
                </c:pt>
                <c:pt idx="2">
                  <c:v>0.97295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a:solidFill>
                          <a:srgbClr val="FFFFFF"/>
                        </a:solidFill>
                      </a:rPr>
                      <a:t>17.3</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7.254324</c:v>
                </c:pt>
                <c:pt idx="1">
                  <c:v>20.287153</c:v>
                </c:pt>
                <c:pt idx="2">
                  <c:v>13.438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a:solidFill>
                          <a:srgbClr val="FFFFFF"/>
                        </a:solidFill>
                      </a:rPr>
                      <a:t>18.4</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405198</c:v>
                </c:pt>
                <c:pt idx="1">
                  <c:v>20.029187</c:v>
                </c:pt>
                <c:pt idx="2">
                  <c:v>11.18275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Kiri</c:v>
                </c:pt>
              </c:strCache>
            </c:strRef>
          </c:tx>
          <c:spPr>
            <a:solidFill>
              <a:srgbClr val="00A097"/>
            </a:solidFill>
            <a:ln>
              <a:solidFill>
                <a:schemeClr val="bg1"/>
              </a:solidFill>
            </a:ln>
            <a:effectLst/>
          </c:spPr>
          <c:invertIfNegative val="0"/>
          <c:dLbls>
            <c:dLbl>
              <c:idx val="0"/>
              <c:tx>
                <c:rich>
                  <a:bodyPr/>
                  <a:lstStyle/>
                  <a:p>
                    <a:r>
                      <a:rPr>
                        <a:solidFill>
                          <a:srgbClr val="FFFFFF"/>
                        </a:solidFill>
                      </a:rPr>
                      <a:t>13.3</a:t>
                    </a:r>
                  </a:p>
                </c:rich>
              </c:tx>
              <c:showLegendKey val="0"/>
              <c:showVal val="1"/>
              <c:showCatName val="0"/>
              <c:showSerName val="0"/>
              <c:showPercent val="0"/>
              <c:showBubbleSize val="0"/>
            </c:dLbl>
            <c:dLbl>
              <c:idx val="1"/>
              <c:tx>
                <c:rich>
                  <a:bodyPr/>
                  <a:lstStyle/>
                  <a:p>
                    <a:r>
                      <a:rPr>
                        <a:solidFill>
                          <a:srgbClr val="FFFFFF"/>
                        </a:solidFill>
                      </a:rPr>
                      <a:t>14.9</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337674</c:v>
                </c:pt>
                <c:pt idx="1">
                  <c:v>14.940985</c:v>
                </c:pt>
                <c:pt idx="2">
                  <c:v>10.07594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6.7</a:t>
                    </a:r>
                  </a:p>
                </c:rich>
              </c:tx>
              <c:showLegendKey val="0"/>
              <c:showVal val="1"/>
              <c:showCatName val="0"/>
              <c:showSerName val="0"/>
              <c:showPercent val="0"/>
              <c:showBubbleSize val="0"/>
            </c:dLbl>
            <c:dLbl>
              <c:idx val="1"/>
              <c:tx>
                <c:rich>
                  <a:bodyPr/>
                  <a:lstStyle/>
                  <a:p>
                    <a:r>
                      <a:rPr>
                        <a:solidFill>
                          <a:srgbClr val="FFFFFF"/>
                        </a:solidFill>
                      </a:rPr>
                      <a:t>17.7</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657373</c:v>
                </c:pt>
                <c:pt idx="1">
                  <c:v>17.695797</c:v>
                </c:pt>
                <c:pt idx="2">
                  <c:v>10.67340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2</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310804</c:v>
                </c:pt>
                <c:pt idx="1">
                  <c:v>13.223214</c:v>
                </c:pt>
                <c:pt idx="2">
                  <c:v>9.0285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8</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548812</c:v>
                </c:pt>
                <c:pt idx="1">
                  <c:v>17.799778</c:v>
                </c:pt>
                <c:pt idx="2">
                  <c:v>10.107459</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8</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750566</c:v>
                </c:pt>
                <c:pt idx="1">
                  <c:v>4.841729</c:v>
                </c:pt>
                <c:pt idx="2">
                  <c:v>2.5804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69629</c:v>
                </c:pt>
                <c:pt idx="1">
                  <c:v>0.366888</c:v>
                </c:pt>
                <c:pt idx="2">
                  <c:v>0.19749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6e-06</c:v>
                </c:pt>
                <c:pt idx="2">
                  <c:v>3e-0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1</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9.361567</c:v>
                </c:pt>
                <c:pt idx="1">
                  <c:v>20.097004</c:v>
                </c:pt>
                <c:pt idx="2">
                  <c:v>13.4478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a:solidFill>
                          <a:srgbClr val="FFFFFF"/>
                        </a:solidFill>
                      </a:rPr>
                      <a:t>161.5</a:t>
                    </a:r>
                  </a:p>
                </c:rich>
              </c:tx>
              <c:showLegendKey val="0"/>
              <c:showVal val="1"/>
              <c:showCatName val="0"/>
              <c:showSerName val="0"/>
              <c:showPercent val="0"/>
              <c:showBubbleSize val="0"/>
            </c:dLbl>
            <c:dLbl>
              <c:idx val="1"/>
              <c:tx>
                <c:rich>
                  <a:bodyPr/>
                  <a:lstStyle/>
                  <a:p>
                    <a:r>
                      <a:rPr>
                        <a:solidFill>
                          <a:srgbClr val="FFFFFF"/>
                        </a:solidFill>
                      </a:rPr>
                      <a:t>172.3</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484844</c:v>
                </c:pt>
                <c:pt idx="1">
                  <c:v>172.27969</c:v>
                </c:pt>
                <c:pt idx="2">
                  <c:v>114.21405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23.6</a:t>
                    </a:r>
                  </a:p>
                </c:rich>
              </c:tx>
              <c:showLegendKey val="0"/>
              <c:showVal val="1"/>
              <c:showCatName val="0"/>
              <c:showSerName val="0"/>
              <c:showPercent val="0"/>
              <c:showBubbleSize val="0"/>
            </c:dLbl>
            <c:dLbl>
              <c:idx val="1"/>
              <c:tx>
                <c:rich>
                  <a:bodyPr/>
                  <a:lstStyle/>
                  <a:p>
                    <a:r>
                      <a:rPr>
                        <a:solidFill>
                          <a:srgbClr val="FFFFFF"/>
                        </a:solidFill>
                      </a:rPr>
                      <a:t>138.1</a:t>
                    </a:r>
                  </a:p>
                </c:rich>
              </c:tx>
              <c:showLegendKey val="0"/>
              <c:showVal val="1"/>
              <c:showCatName val="0"/>
              <c:showSerName val="0"/>
              <c:showPercent val="0"/>
              <c:showBubbleSize val="0"/>
            </c:dLbl>
            <c:dLbl>
              <c:idx val="2"/>
              <c:tx>
                <c:rich>
                  <a:bodyPr/>
                  <a:lstStyle/>
                  <a:p>
                    <a:r>
                      <a:rPr>
                        <a:solidFill>
                          <a:srgbClr val="FFFFFF"/>
                        </a:solidFill>
                      </a:rPr>
                      <a:t>7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3.5658</c:v>
                </c:pt>
                <c:pt idx="1">
                  <c:v>138.065506</c:v>
                </c:pt>
                <c:pt idx="2">
                  <c:v>76.64569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70.5</a:t>
                    </a:r>
                  </a:p>
                </c:rich>
              </c:tx>
              <c:showLegendKey val="0"/>
              <c:showVal val="1"/>
              <c:showCatName val="0"/>
              <c:showSerName val="0"/>
              <c:showPercent val="0"/>
              <c:showBubbleSize val="0"/>
            </c:dLbl>
            <c:dLbl>
              <c:idx val="1"/>
              <c:tx>
                <c:rich>
                  <a:bodyPr/>
                  <a:lstStyle/>
                  <a:p>
                    <a:r>
                      <a:rPr>
                        <a:solidFill>
                          <a:srgbClr val="FFFFFF"/>
                        </a:solidFill>
                      </a:rPr>
                      <a:t>71.7</a:t>
                    </a:r>
                  </a:p>
                </c:rich>
              </c:tx>
              <c:showLegendKey val="0"/>
              <c:showVal val="1"/>
              <c:showCatName val="0"/>
              <c:showSerName val="0"/>
              <c:showPercent val="0"/>
              <c:showBubbleSize val="0"/>
            </c:dLbl>
            <c:dLbl>
              <c:idx val="2"/>
              <c:tx>
                <c:rich>
                  <a:bodyPr/>
                  <a:lstStyle/>
                  <a:p>
                    <a:r>
                      <a:rPr>
                        <a:solidFill>
                          <a:srgbClr val="FFFFFF"/>
                        </a:solidFill>
                      </a:rPr>
                      <a:t>3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70.505046</c:v>
                </c:pt>
                <c:pt idx="1">
                  <c:v>71.691241</c:v>
                </c:pt>
                <c:pt idx="2">
                  <c:v>38.37619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2.8</a:t>
                    </a:r>
                  </a:p>
                </c:rich>
              </c:tx>
              <c:showLegendKey val="0"/>
              <c:showVal val="1"/>
              <c:showCatName val="0"/>
              <c:showSerName val="0"/>
              <c:showPercent val="0"/>
              <c:showBubbleSize val="0"/>
            </c:dLbl>
            <c:dLbl>
              <c:idx val="1"/>
              <c:tx>
                <c:rich>
                  <a:bodyPr/>
                  <a:lstStyle/>
                  <a:p>
                    <a:r>
                      <a:rPr>
                        <a:solidFill>
                          <a:srgbClr val="FFFFFF"/>
                        </a:solidFill>
                      </a:rPr>
                      <a:t>6.1</a:t>
                    </a:r>
                  </a:p>
                </c:rich>
              </c:tx>
              <c:showLegendKey val="0"/>
              <c:showVal val="1"/>
              <c:showCatName val="0"/>
              <c:showSerName val="0"/>
              <c:showPercent val="0"/>
              <c:showBubbleSize val="0"/>
            </c:dLbl>
            <c:dLbl>
              <c:idx val="2"/>
              <c:tx>
                <c:rich>
                  <a:bodyPr/>
                  <a:lstStyle/>
                  <a:p>
                    <a:r>
                      <a:rPr>
                        <a:solidFill>
                          <a:srgbClr val="FFFFFF"/>
                        </a:solidFill>
                      </a:rPr>
                      <a:t>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823078</c:v>
                </c:pt>
                <c:pt idx="1">
                  <c:v>6.136183</c:v>
                </c:pt>
                <c:pt idx="2">
                  <c:v>3.35846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4.1e-05</c:v>
                </c:pt>
                <c:pt idx="2">
                  <c:v>3.9e-0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236.9</a:t>
                    </a:r>
                  </a:p>
                </c:rich>
              </c:tx>
              <c:showLegendKey val="0"/>
              <c:showVal val="1"/>
              <c:showCatName val="0"/>
              <c:showSerName val="0"/>
              <c:showPercent val="0"/>
              <c:showBubbleSize val="0"/>
            </c:dLbl>
            <c:dLbl>
              <c:idx val="1"/>
              <c:tx>
                <c:rich>
                  <a:bodyPr/>
                  <a:lstStyle/>
                  <a:p>
                    <a:r>
                      <a:rPr>
                        <a:solidFill>
                          <a:srgbClr val="FFFFFF"/>
                        </a:solidFill>
                      </a:rPr>
                      <a:t>244.8</a:t>
                    </a:r>
                  </a:p>
                </c:rich>
              </c:tx>
              <c:showLegendKey val="0"/>
              <c:showVal val="1"/>
              <c:showCatName val="0"/>
              <c:showSerName val="0"/>
              <c:showPercent val="0"/>
              <c:showBubbleSize val="0"/>
            </c:dLbl>
            <c:dLbl>
              <c:idx val="2"/>
              <c:tx>
                <c:rich>
                  <a:bodyPr/>
                  <a:lstStyle/>
                  <a:p>
                    <a:r>
                      <a:rPr>
                        <a:solidFill>
                          <a:srgbClr val="FFFFFF"/>
                        </a:solidFill>
                      </a:rPr>
                      <a:t>15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36.932936</c:v>
                </c:pt>
                <c:pt idx="1">
                  <c:v>244.847644</c:v>
                </c:pt>
                <c:pt idx="2">
                  <c:v>159.4070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17189</c:v>
                </c:pt>
                <c:pt idx="1">
                  <c:v>1.96474</c:v>
                </c:pt>
                <c:pt idx="2">
                  <c:v>1.37177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94685</c:v>
                </c:pt>
                <c:pt idx="1">
                  <c:v>1.967229</c:v>
                </c:pt>
                <c:pt idx="2">
                  <c:v>1.07265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747326</c:v>
                </c:pt>
                <c:pt idx="1">
                  <c:v>0.73441</c:v>
                </c:pt>
                <c:pt idx="2">
                  <c:v>0.454298</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4445</c:v>
                </c:pt>
                <c:pt idx="1">
                  <c:v>0.098585</c:v>
                </c:pt>
                <c:pt idx="2">
                  <c:v>0.054113</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6e-06</c:v>
                </c:pt>
                <c:pt idx="2">
                  <c:v>3e-06</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41074</c:v>
                </c:pt>
                <c:pt idx="1">
                  <c:v>3.565428</c:v>
                </c:pt>
                <c:pt idx="2">
                  <c:v>2.50278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a:solidFill>
                          <a:srgbClr val="FFFFFF"/>
                        </a:solidFill>
                      </a:rPr>
                      <a:t>26.4</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6.367336</c:v>
                </c:pt>
                <c:pt idx="1">
                  <c:v>27.761183</c:v>
                </c:pt>
                <c:pt idx="2">
                  <c:v>18.6254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5.3</a:t>
                    </a:r>
                  </a:p>
                </c:rich>
              </c:tx>
              <c:showLegendKey val="0"/>
              <c:showVal val="1"/>
              <c:showCatName val="0"/>
              <c:showSerName val="0"/>
              <c:showPercent val="0"/>
              <c:showBubbleSize val="0"/>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260714</c:v>
                </c:pt>
                <c:pt idx="1">
                  <c:v>16.868739</c:v>
                </c:pt>
                <c:pt idx="2">
                  <c:v>8.927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11.5</a:t>
                    </a:r>
                  </a:p>
                </c:rich>
              </c:tx>
              <c:showLegendKey val="0"/>
              <c:showVal val="1"/>
              <c:showCatName val="0"/>
              <c:showSerName val="0"/>
              <c:showPercent val="0"/>
              <c:showBubbleSize val="0"/>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508686</c:v>
                </c:pt>
                <c:pt idx="1">
                  <c:v>11.298453</c:v>
                </c:pt>
                <c:pt idx="2">
                  <c:v>7.0181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1.0</a:t>
                    </a:r>
                  </a:p>
                </c:rich>
              </c:tx>
              <c:showLegendKey val="0"/>
              <c:showVal val="1"/>
              <c:showCatName val="0"/>
              <c:showSerName val="0"/>
              <c:showPercent val="0"/>
              <c:showBubbleSize val="0"/>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49258</c:v>
                </c:pt>
                <c:pt idx="1">
                  <c:v>1.70356</c:v>
                </c:pt>
                <c:pt idx="2">
                  <c:v>0.9314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La Vache Qui Rit</c:v>
                </c:pt>
              </c:strCache>
            </c:strRef>
          </c:tx>
          <c:spPr>
            <a:solidFill>
              <a:srgbClr val="99C7C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c:v>
                </c:pt>
                <c:pt idx="1">
                  <c:v>4.1e-05</c:v>
                </c:pt>
                <c:pt idx="2">
                  <c:v>3.9e-05</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43.9</a:t>
                    </a:r>
                  </a:p>
                </c:rich>
              </c:tx>
              <c:showLegendKey val="0"/>
              <c:showVal val="1"/>
              <c:showCatName val="0"/>
              <c:showSerName val="0"/>
              <c:showPercent val="0"/>
              <c:showBubbleSize val="0"/>
            </c:dLbl>
            <c:dLbl>
              <c:idx val="1"/>
              <c:tx>
                <c:rich>
                  <a:bodyPr/>
                  <a:lstStyle/>
                  <a:p>
                    <a:r>
                      <a:rPr>
                        <a:solidFill>
                          <a:srgbClr val="FFFFFF"/>
                        </a:solidFill>
                      </a:rPr>
                      <a:t>45.0</a:t>
                    </a:r>
                  </a:p>
                </c:rich>
              </c:tx>
              <c:showLegendKey val="0"/>
              <c:showVal val="1"/>
              <c:showCatName val="0"/>
              <c:showSerName val="0"/>
              <c:showPercent val="0"/>
              <c:showBubbleSize val="0"/>
            </c:dLbl>
            <c:dLbl>
              <c:idx val="2"/>
              <c:tx>
                <c:rich>
                  <a:bodyPr/>
                  <a:lstStyle/>
                  <a:p>
                    <a:r>
                      <a:rPr>
                        <a:solidFill>
                          <a:srgbClr val="FFFFFF"/>
                        </a:solidFill>
                      </a:rPr>
                      <a:t>3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3.91863</c:v>
                </c:pt>
                <c:pt idx="1">
                  <c:v>44.955318</c:v>
                </c:pt>
                <c:pt idx="2">
                  <c:v>30.40888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78248</c:v>
                </c:pt>
                <c:pt idx="1">
                  <c:v>1.97841</c:v>
                </c:pt>
                <c:pt idx="2">
                  <c:v>1.46675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9077</c:v>
                </c:pt>
                <c:pt idx="1">
                  <c:v>1.956395</c:v>
                </c:pt>
                <c:pt idx="2">
                  <c:v>1.031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9</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81181</c:v>
                </c:pt>
                <c:pt idx="1">
                  <c:v>0.912776</c:v>
                </c:pt>
                <c:pt idx="2">
                  <c:v>0.51384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17003</c:v>
                </c:pt>
                <c:pt idx="1">
                  <c:v>0.050019</c:v>
                </c:pt>
                <c:pt idx="2">
                  <c:v>0.022876</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447388</c:v>
                </c:pt>
                <c:pt idx="1">
                  <c:v>2.581467</c:v>
                </c:pt>
                <c:pt idx="2">
                  <c:v>1.74689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t Moret</c:v>
                </c:pt>
              </c:strCache>
            </c:strRef>
          </c:tx>
          <c:spPr>
            <a:solidFill>
              <a:srgbClr val="AEABAB"/>
            </a:solidFill>
            <a:ln>
              <a:solidFill>
                <a:schemeClr val="bg1"/>
              </a:solidFill>
            </a:ln>
            <a:effectLst/>
          </c:spPr>
          <c:invertIfNegative val="0"/>
          <c:dLbls>
            <c:dLbl>
              <c:idx val="0"/>
              <c:tx>
                <c:rich>
                  <a:bodyPr/>
                  <a:lstStyle/>
                  <a:p>
                    <a:r>
                      <a:rPr>
                        <a:solidFill>
                          <a:srgbClr val="FFFFFF"/>
                        </a:solidFill>
                      </a:rPr>
                      <a:t>21.7</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657387</c:v>
                </c:pt>
                <c:pt idx="1">
                  <c:v>25.08986</c:v>
                </c:pt>
                <c:pt idx="2">
                  <c:v>18.72066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3.1</a:t>
                    </a:r>
                  </a:p>
                </c:rich>
              </c:tx>
              <c:showLegendKey val="0"/>
              <c:showVal val="1"/>
              <c:showCatName val="0"/>
              <c:showSerName val="0"/>
              <c:showPercent val="0"/>
              <c:showBubbleSize val="0"/>
            </c:dLbl>
            <c:dLbl>
              <c:idx val="1"/>
              <c:tx>
                <c:rich>
                  <a:bodyPr/>
                  <a:lstStyle/>
                  <a:p>
                    <a:r>
                      <a:rPr>
                        <a:solidFill>
                          <a:srgbClr val="FFFFFF"/>
                        </a:solidFill>
                      </a:rPr>
                      <a:t>15.4</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098208</c:v>
                </c:pt>
                <c:pt idx="1">
                  <c:v>15.412392</c:v>
                </c:pt>
                <c:pt idx="2">
                  <c:v>8.19766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11.8</a:t>
                    </a:r>
                  </a:p>
                </c:rich>
              </c:tx>
              <c:showLegendKey val="0"/>
              <c:showVal val="1"/>
              <c:showCatName val="0"/>
              <c:showSerName val="0"/>
              <c:showPercent val="0"/>
              <c:showBubbleSize val="0"/>
            </c:dLbl>
            <c:dLbl>
              <c:idx val="1"/>
              <c:tx>
                <c:rich>
                  <a:bodyPr/>
                  <a:lstStyle/>
                  <a:p>
                    <a:r>
                      <a:rPr>
                        <a:solidFill>
                          <a:srgbClr val="FFFFFF"/>
                        </a:solidFill>
                      </a:rPr>
                      <a:t>13.4</a:t>
                    </a:r>
                  </a:p>
                </c:rich>
              </c:tx>
              <c:showLegendKey val="0"/>
              <c:showVal val="1"/>
              <c:showCatName val="0"/>
              <c:showSerName val="0"/>
              <c:showPercent val="0"/>
              <c:showBubbleSize val="0"/>
            </c:dLbl>
            <c:dLbl>
              <c:idx val="2"/>
              <c:tx>
                <c:rich>
                  <a:bodyPr/>
                  <a:lstStyle/>
                  <a:p>
                    <a:r>
                      <a:rPr>
                        <a:solidFill>
                          <a:srgbClr val="FFFFFF"/>
                        </a:solidFill>
                      </a:rPr>
                      <a:t>7.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818583</c:v>
                </c:pt>
                <c:pt idx="1">
                  <c:v>13.386717</c:v>
                </c:pt>
                <c:pt idx="2">
                  <c:v>7.78073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0.3</a:t>
                    </a:r>
                  </a:p>
                </c:rich>
              </c:tx>
              <c:showLegendKey val="0"/>
              <c:showVal val="1"/>
              <c:showCatName val="0"/>
              <c:showSerName val="0"/>
              <c:showPercent val="0"/>
              <c:showBubbleSize val="0"/>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85979</c:v>
                </c:pt>
                <c:pt idx="1">
                  <c:v>0.845993</c:v>
                </c:pt>
                <c:pt idx="2">
                  <c:v>0.43246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30.4</a:t>
                    </a:r>
                  </a:p>
                </c:rich>
              </c:tx>
              <c:showLegendKey val="0"/>
              <c:showVal val="1"/>
              <c:showCatName val="0"/>
              <c:showSerName val="0"/>
              <c:showPercent val="0"/>
              <c:showBubbleSize val="0"/>
            </c:dLbl>
            <c:dLbl>
              <c:idx val="1"/>
              <c:tx>
                <c:rich>
                  <a:bodyPr/>
                  <a:lstStyle/>
                  <a:p>
                    <a:r>
                      <a:rPr>
                        <a:solidFill>
                          <a:srgbClr val="FFFFFF"/>
                        </a:solidFill>
                      </a:rPr>
                      <a:t>31.9</a:t>
                    </a:r>
                  </a:p>
                </c:rich>
              </c:tx>
              <c:showLegendKey val="0"/>
              <c:showVal val="1"/>
              <c:showCatName val="0"/>
              <c:showSerName val="0"/>
              <c:showPercent val="0"/>
              <c:showBubbleSize val="0"/>
            </c:dLbl>
            <c:dLbl>
              <c:idx val="2"/>
              <c:tx>
                <c:rich>
                  <a:bodyPr/>
                  <a:lstStyle/>
                  <a:p>
                    <a:r>
                      <a:rPr>
                        <a:solidFill>
                          <a:srgbClr val="FFFFFF"/>
                        </a:solidFill>
                      </a:rPr>
                      <a:t>2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0.398009</c:v>
                </c:pt>
                <c:pt idx="1">
                  <c:v>31.875653</c:v>
                </c:pt>
                <c:pt idx="2">
                  <c:v>21.21066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8</a:t>
                    </a:r>
                  </a:p>
                </c:rich>
              </c:tx>
              <c:showLegendKey val="0"/>
              <c:showVal val="1"/>
              <c:showCatName val="0"/>
              <c:showSerName val="0"/>
              <c:showPercent val="0"/>
              <c:showBubbleSize val="0"/>
            </c:dLbl>
            <c:dLbl>
              <c:idx val="2"/>
              <c:tx>
                <c:rich>
                  <a:bodyPr/>
                  <a:lstStyle/>
                  <a:p>
                    <a:r>
                      <a:rPr>
                        <a:solidFill>
                          <a:srgbClr val="FFFFFF"/>
                        </a:solidFill>
                      </a:rPr>
                      <a:t>3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6.208681</c:v>
                </c:pt>
                <c:pt idx="1">
                  <c:v>50.757236</c:v>
                </c:pt>
                <c:pt idx="2">
                  <c:v>36.16061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687475</c:v>
                </c:pt>
                <c:pt idx="1">
                  <c:v>9.2957</c:v>
                </c:pt>
                <c:pt idx="2">
                  <c:v>6.59856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7</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694084</c:v>
                </c:pt>
                <c:pt idx="1">
                  <c:v>0.691792</c:v>
                </c:pt>
                <c:pt idx="2">
                  <c:v>0.37904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5</a:t>
                    </a:r>
                  </a:p>
                </c:rich>
              </c:tx>
              <c:showLegendKey val="0"/>
              <c:showVal val="1"/>
              <c:showCatName val="0"/>
              <c:showSerName val="0"/>
              <c:showPercent val="0"/>
              <c:showBubbleSize val="0"/>
            </c:dLbl>
            <c:dLbl>
              <c:idx val="2"/>
              <c:tx>
                <c:rich>
                  <a:bodyPr/>
                  <a:lstStyle/>
                  <a:p>
                    <a:r>
                      <a:rPr>
                        <a:solidFill>
                          <a:srgbClr val="FFFFFF"/>
                        </a:solidFill>
                      </a:rPr>
                      <a:t>1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540523</c:v>
                </c:pt>
                <c:pt idx="1">
                  <c:v>15.461294</c:v>
                </c:pt>
                <c:pt idx="2">
                  <c:v>11.50934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a:solidFill>
                          <a:srgbClr val="FFFFFF"/>
                        </a:solidFill>
                      </a:rPr>
                      <a:t>1534.9</a:t>
                    </a:r>
                  </a:p>
                </c:rich>
              </c:tx>
              <c:showLegendKey val="0"/>
              <c:showVal val="1"/>
              <c:showCatName val="0"/>
              <c:showSerName val="0"/>
              <c:showPercent val="0"/>
              <c:showBubbleSize val="0"/>
            </c:dLbl>
            <c:dLbl>
              <c:idx val="1"/>
              <c:tx>
                <c:rich>
                  <a:bodyPr/>
                  <a:lstStyle/>
                  <a:p>
                    <a:r>
                      <a:rPr>
                        <a:solidFill>
                          <a:srgbClr val="FFFFFF"/>
                        </a:solidFill>
                      </a:rPr>
                      <a:t>1663.3</a:t>
                    </a:r>
                  </a:p>
                </c:rich>
              </c:tx>
              <c:showLegendKey val="0"/>
              <c:showVal val="1"/>
              <c:showCatName val="0"/>
              <c:showSerName val="0"/>
              <c:showPercent val="0"/>
              <c:showBubbleSize val="0"/>
            </c:dLbl>
            <c:dLbl>
              <c:idx val="2"/>
              <c:tx>
                <c:rich>
                  <a:bodyPr/>
                  <a:lstStyle/>
                  <a:p>
                    <a:r>
                      <a:rPr>
                        <a:solidFill>
                          <a:srgbClr val="FFFFFF"/>
                        </a:solidFill>
                      </a:rPr>
                      <a:t>102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34.853614</c:v>
                </c:pt>
                <c:pt idx="1">
                  <c:v>1663.343003</c:v>
                </c:pt>
                <c:pt idx="2">
                  <c:v>1023.4614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tx>
                <c:rich>
                  <a:bodyPr/>
                  <a:lstStyle/>
                  <a:p>
                    <a:r>
                      <a:rPr>
                        <a:solidFill>
                          <a:srgbClr val="FFFFFF"/>
                        </a:solidFill>
                      </a:rPr>
                      <a:t>775.4</a:t>
                    </a:r>
                  </a:p>
                </c:rich>
              </c:tx>
              <c:showLegendKey val="0"/>
              <c:showVal val="1"/>
              <c:showCatName val="0"/>
              <c:showSerName val="0"/>
              <c:showPercent val="0"/>
              <c:showBubbleSize val="0"/>
            </c:dLbl>
            <c:dLbl>
              <c:idx val="1"/>
              <c:tx>
                <c:rich>
                  <a:bodyPr/>
                  <a:lstStyle/>
                  <a:p>
                    <a:r>
                      <a:rPr>
                        <a:solidFill>
                          <a:srgbClr val="FFFFFF"/>
                        </a:solidFill>
                      </a:rPr>
                      <a:t>770.5</a:t>
                    </a:r>
                  </a:p>
                </c:rich>
              </c:tx>
              <c:showLegendKey val="0"/>
              <c:showVal val="1"/>
              <c:showCatName val="0"/>
              <c:showSerName val="0"/>
              <c:showPercent val="0"/>
              <c:showBubbleSize val="0"/>
            </c:dLbl>
            <c:dLbl>
              <c:idx val="2"/>
              <c:tx>
                <c:rich>
                  <a:bodyPr/>
                  <a:lstStyle/>
                  <a:p>
                    <a:r>
                      <a:rPr>
                        <a:solidFill>
                          <a:srgbClr val="FFFFFF"/>
                        </a:solidFill>
                      </a:rPr>
                      <a:t>45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75.436563</c:v>
                </c:pt>
                <c:pt idx="1">
                  <c:v>770.518684</c:v>
                </c:pt>
                <c:pt idx="2">
                  <c:v>458.25257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tx>
                <c:rich>
                  <a:bodyPr/>
                  <a:lstStyle/>
                  <a:p>
                    <a:r>
                      <a:rPr>
                        <a:solidFill>
                          <a:srgbClr val="FFFFFF"/>
                        </a:solidFill>
                      </a:rPr>
                      <a:t>551.0</a:t>
                    </a:r>
                  </a:p>
                </c:rich>
              </c:tx>
              <c:showLegendKey val="0"/>
              <c:showVal val="1"/>
              <c:showCatName val="0"/>
              <c:showSerName val="0"/>
              <c:showPercent val="0"/>
              <c:showBubbleSize val="0"/>
            </c:dLbl>
            <c:dLbl>
              <c:idx val="1"/>
              <c:tx>
                <c:rich>
                  <a:bodyPr/>
                  <a:lstStyle/>
                  <a:p>
                    <a:r>
                      <a:rPr>
                        <a:solidFill>
                          <a:srgbClr val="FFFFFF"/>
                        </a:solidFill>
                      </a:rPr>
                      <a:t>545.1</a:t>
                    </a:r>
                  </a:p>
                </c:rich>
              </c:tx>
              <c:showLegendKey val="0"/>
              <c:showVal val="1"/>
              <c:showCatName val="0"/>
              <c:showSerName val="0"/>
              <c:showPercent val="0"/>
              <c:showBubbleSize val="0"/>
            </c:dLbl>
            <c:dLbl>
              <c:idx val="2"/>
              <c:tx>
                <c:rich>
                  <a:bodyPr/>
                  <a:lstStyle/>
                  <a:p>
                    <a:r>
                      <a:rPr>
                        <a:solidFill>
                          <a:srgbClr val="FFFFFF"/>
                        </a:solidFill>
                      </a:rPr>
                      <a:t>34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51.014596</c:v>
                </c:pt>
                <c:pt idx="1">
                  <c:v>545.076222</c:v>
                </c:pt>
                <c:pt idx="2">
                  <c:v>346.31127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tx>
                <c:rich>
                  <a:bodyPr/>
                  <a:lstStyle/>
                  <a:p>
                    <a:r>
                      <a:rPr>
                        <a:solidFill>
                          <a:srgbClr val="FFFFFF"/>
                        </a:solidFill>
                      </a:rPr>
                      <a:t>449.6</a:t>
                    </a:r>
                  </a:p>
                </c:rich>
              </c:tx>
              <c:showLegendKey val="0"/>
              <c:showVal val="1"/>
              <c:showCatName val="0"/>
              <c:showSerName val="0"/>
              <c:showPercent val="0"/>
              <c:showBubbleSize val="0"/>
            </c:dLbl>
            <c:dLbl>
              <c:idx val="1"/>
              <c:tx>
                <c:rich>
                  <a:bodyPr/>
                  <a:lstStyle/>
                  <a:p>
                    <a:r>
                      <a:rPr>
                        <a:solidFill>
                          <a:srgbClr val="FFFFFF"/>
                        </a:solidFill>
                      </a:rPr>
                      <a:t>474.3</a:t>
                    </a:r>
                  </a:p>
                </c:rich>
              </c:tx>
              <c:showLegendKey val="0"/>
              <c:showVal val="1"/>
              <c:showCatName val="0"/>
              <c:showSerName val="0"/>
              <c:showPercent val="0"/>
              <c:showBubbleSize val="0"/>
            </c:dLbl>
            <c:dLbl>
              <c:idx val="2"/>
              <c:tx>
                <c:rich>
                  <a:bodyPr/>
                  <a:lstStyle/>
                  <a:p>
                    <a:r>
                      <a:rPr>
                        <a:solidFill>
                          <a:srgbClr val="FFFFFF"/>
                        </a:solidFill>
                      </a:rPr>
                      <a:t>27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449.563799</c:v>
                </c:pt>
                <c:pt idx="1">
                  <c:v>474.256936</c:v>
                </c:pt>
                <c:pt idx="2">
                  <c:v>277.70996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a:solidFill>
                          <a:srgbClr val="FFFFFF"/>
                        </a:solidFill>
                      </a:rPr>
                      <a:t>224.3</a:t>
                    </a:r>
                  </a:p>
                </c:rich>
              </c:tx>
              <c:showLegendKey val="0"/>
              <c:showVal val="1"/>
              <c:showCatName val="0"/>
              <c:showSerName val="0"/>
              <c:showPercent val="0"/>
              <c:showBubbleSize val="0"/>
            </c:dLbl>
            <c:dLbl>
              <c:idx val="1"/>
              <c:tx>
                <c:rich>
                  <a:bodyPr/>
                  <a:lstStyle/>
                  <a:p>
                    <a:r>
                      <a:rPr>
                        <a:solidFill>
                          <a:srgbClr val="FFFFFF"/>
                        </a:solidFill>
                      </a:rPr>
                      <a:t>213.1</a:t>
                    </a:r>
                  </a:p>
                </c:rich>
              </c:tx>
              <c:showLegendKey val="0"/>
              <c:showVal val="1"/>
              <c:showCatName val="0"/>
              <c:showSerName val="0"/>
              <c:showPercent val="0"/>
              <c:showBubbleSize val="0"/>
            </c:dLbl>
            <c:dLbl>
              <c:idx val="2"/>
              <c:tx>
                <c:rich>
                  <a:bodyPr/>
                  <a:lstStyle/>
                  <a:p>
                    <a:r>
                      <a:rPr>
                        <a:solidFill>
                          <a:srgbClr val="FFFFFF"/>
                        </a:solidFill>
                      </a:rPr>
                      <a:t>12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24.250855</c:v>
                </c:pt>
                <c:pt idx="1">
                  <c:v>213.065202</c:v>
                </c:pt>
                <c:pt idx="2">
                  <c:v>120.04784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tx>
                <c:rich>
                  <a:bodyPr/>
                  <a:lstStyle/>
                  <a:p>
                    <a:r>
                      <a:rPr>
                        <a:solidFill>
                          <a:srgbClr val="FFFFFF"/>
                        </a:solidFill>
                      </a:rPr>
                      <a:t>567.3</a:t>
                    </a:r>
                  </a:p>
                </c:rich>
              </c:tx>
              <c:showLegendKey val="0"/>
              <c:showVal val="1"/>
              <c:showCatName val="0"/>
              <c:showSerName val="0"/>
              <c:showPercent val="0"/>
              <c:showBubbleSize val="0"/>
            </c:dLbl>
            <c:dLbl>
              <c:idx val="1"/>
              <c:tx>
                <c:rich>
                  <a:bodyPr/>
                  <a:lstStyle/>
                  <a:p>
                    <a:r>
                      <a:rPr>
                        <a:solidFill>
                          <a:srgbClr val="FFFFFF"/>
                        </a:solidFill>
                      </a:rPr>
                      <a:t>592.5</a:t>
                    </a:r>
                  </a:p>
                </c:rich>
              </c:tx>
              <c:showLegendKey val="0"/>
              <c:showVal val="1"/>
              <c:showCatName val="0"/>
              <c:showSerName val="0"/>
              <c:showPercent val="0"/>
              <c:showBubbleSize val="0"/>
            </c:dLbl>
            <c:dLbl>
              <c:idx val="2"/>
              <c:tx>
                <c:rich>
                  <a:bodyPr/>
                  <a:lstStyle/>
                  <a:p>
                    <a:r>
                      <a:rPr>
                        <a:solidFill>
                          <a:srgbClr val="FFFFFF"/>
                        </a:solidFill>
                      </a:rPr>
                      <a:t>397.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67.28076</c:v>
                </c:pt>
                <c:pt idx="1">
                  <c:v>592.500854</c:v>
                </c:pt>
                <c:pt idx="2">
                  <c:v>397.08446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497.6</a:t>
                    </a:r>
                  </a:p>
                </c:rich>
              </c:tx>
              <c:showLegendKey val="0"/>
              <c:showVal val="1"/>
              <c:showCatName val="0"/>
              <c:showSerName val="0"/>
              <c:showPercent val="0"/>
              <c:showBubbleSize val="0"/>
            </c:dLbl>
            <c:dLbl>
              <c:idx val="1"/>
              <c:tx>
                <c:rich>
                  <a:bodyPr/>
                  <a:lstStyle/>
                  <a:p>
                    <a:r>
                      <a:rPr>
                        <a:solidFill>
                          <a:srgbClr val="FFFFFF"/>
                        </a:solidFill>
                      </a:rPr>
                      <a:t>560.6</a:t>
                    </a:r>
                  </a:p>
                </c:rich>
              </c:tx>
              <c:showLegendKey val="0"/>
              <c:showVal val="1"/>
              <c:showCatName val="0"/>
              <c:showSerName val="0"/>
              <c:showPercent val="0"/>
              <c:showBubbleSize val="0"/>
            </c:dLbl>
            <c:dLbl>
              <c:idx val="2"/>
              <c:tx>
                <c:rich>
                  <a:bodyPr/>
                  <a:lstStyle/>
                  <a:p>
                    <a:r>
                      <a:rPr>
                        <a:solidFill>
                          <a:srgbClr val="FFFFFF"/>
                        </a:solidFill>
                      </a:rPr>
                      <a:t>40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97.637072</c:v>
                </c:pt>
                <c:pt idx="1">
                  <c:v>560.578505</c:v>
                </c:pt>
                <c:pt idx="2">
                  <c:v>408.21165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a:solidFill>
                          <a:srgbClr val="FFFFFF"/>
                        </a:solidFill>
                      </a:rPr>
                      <a:t>118.7</a:t>
                    </a:r>
                  </a:p>
                </c:rich>
              </c:tx>
              <c:showLegendKey val="0"/>
              <c:showVal val="1"/>
              <c:showCatName val="0"/>
              <c:showSerName val="0"/>
              <c:showPercent val="0"/>
              <c:showBubbleSize val="0"/>
            </c:dLbl>
            <c:dLbl>
              <c:idx val="1"/>
              <c:tx>
                <c:rich>
                  <a:bodyPr/>
                  <a:lstStyle/>
                  <a:p>
                    <a:r>
                      <a:rPr>
                        <a:solidFill>
                          <a:srgbClr val="FFFFFF"/>
                        </a:solidFill>
                      </a:rPr>
                      <a:t>113.4</a:t>
                    </a:r>
                  </a:p>
                </c:rich>
              </c:tx>
              <c:showLegendKey val="0"/>
              <c:showVal val="1"/>
              <c:showCatName val="0"/>
              <c:showSerName val="0"/>
              <c:showPercent val="0"/>
              <c:showBubbleSize val="0"/>
            </c:dLbl>
            <c:dLbl>
              <c:idx val="2"/>
              <c:tx>
                <c:rich>
                  <a:bodyPr/>
                  <a:lstStyle/>
                  <a:p>
                    <a:r>
                      <a:rPr>
                        <a:solidFill>
                          <a:srgbClr val="FFFFFF"/>
                        </a:solidFill>
                      </a:rPr>
                      <a:t>8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8.690345</c:v>
                </c:pt>
                <c:pt idx="1">
                  <c:v>113.390809</c:v>
                </c:pt>
                <c:pt idx="2">
                  <c:v>84.33740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12.9</a:t>
                    </a:r>
                  </a:p>
                </c:rich>
              </c:tx>
              <c:showLegendKey val="0"/>
              <c:showVal val="1"/>
              <c:showCatName val="0"/>
              <c:showSerName val="0"/>
              <c:showPercent val="0"/>
              <c:showBubbleSize val="0"/>
            </c:dLbl>
            <c:dLbl>
              <c:idx val="1"/>
              <c:tx>
                <c:rich>
                  <a:bodyPr/>
                  <a:lstStyle/>
                  <a:p>
                    <a:r>
                      <a:rPr>
                        <a:solidFill>
                          <a:srgbClr val="FFFFFF"/>
                        </a:solidFill>
                      </a:rPr>
                      <a:t>12.7</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872707</c:v>
                </c:pt>
                <c:pt idx="1">
                  <c:v>12.678959</c:v>
                </c:pt>
                <c:pt idx="2">
                  <c:v>7.16516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231.3</a:t>
                    </a:r>
                  </a:p>
                </c:rich>
              </c:tx>
              <c:showLegendKey val="0"/>
              <c:showVal val="1"/>
              <c:showCatName val="0"/>
              <c:showSerName val="0"/>
              <c:showPercent val="0"/>
              <c:showBubbleSize val="0"/>
            </c:dLbl>
            <c:dLbl>
              <c:idx val="1"/>
              <c:tx>
                <c:rich>
                  <a:bodyPr/>
                  <a:lstStyle/>
                  <a:p>
                    <a:r>
                      <a:rPr>
                        <a:solidFill>
                          <a:srgbClr val="FFFFFF"/>
                        </a:solidFill>
                      </a:rPr>
                      <a:t>236.4</a:t>
                    </a:r>
                  </a:p>
                </c:rich>
              </c:tx>
              <c:showLegendKey val="0"/>
              <c:showVal val="1"/>
              <c:showCatName val="0"/>
              <c:showSerName val="0"/>
              <c:showPercent val="0"/>
              <c:showBubbleSize val="0"/>
            </c:dLbl>
            <c:dLbl>
              <c:idx val="2"/>
              <c:tx>
                <c:rich>
                  <a:bodyPr/>
                  <a:lstStyle/>
                  <a:p>
                    <a:r>
                      <a:rPr>
                        <a:solidFill>
                          <a:srgbClr val="FFFFFF"/>
                        </a:solidFill>
                      </a:rPr>
                      <a:t>18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31.318852</c:v>
                </c:pt>
                <c:pt idx="1">
                  <c:v>236.424318</c:v>
                </c:pt>
                <c:pt idx="2">
                  <c:v>180.87815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7.812837</c:v>
                </c:pt>
                <c:pt idx="1">
                  <c:v>8.153381</c:v>
                </c:pt>
                <c:pt idx="2">
                  <c:v>5.60789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09608</c:v>
                </c:pt>
                <c:pt idx="1">
                  <c:v>1.448303</c:v>
                </c:pt>
                <c:pt idx="2">
                  <c:v>1.02869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1744</c:v>
                </c:pt>
                <c:pt idx="1">
                  <c:v>0.160151</c:v>
                </c:pt>
                <c:pt idx="2">
                  <c:v>0.10617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899913</c:v>
                </c:pt>
                <c:pt idx="1">
                  <c:v>2.984887</c:v>
                </c:pt>
                <c:pt idx="2">
                  <c:v>2.38443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92.7</a:t>
                    </a:r>
                  </a:p>
                </c:rich>
              </c:tx>
              <c:showLegendKey val="0"/>
              <c:showVal val="1"/>
              <c:showCatName val="0"/>
              <c:showSerName val="0"/>
              <c:showPercent val="0"/>
              <c:showBubbleSize val="0"/>
            </c:dLbl>
            <c:dLbl>
              <c:idx val="1"/>
              <c:tx>
                <c:rich>
                  <a:bodyPr/>
                  <a:lstStyle/>
                  <a:p>
                    <a:r>
                      <a:rPr>
                        <a:solidFill>
                          <a:srgbClr val="FFFFFF"/>
                        </a:solidFill>
                      </a:rPr>
                      <a:t>97.9</a:t>
                    </a:r>
                  </a:p>
                </c:rich>
              </c:tx>
              <c:showLegendKey val="0"/>
              <c:showVal val="1"/>
              <c:showCatName val="0"/>
              <c:showSerName val="0"/>
              <c:showPercent val="0"/>
              <c:showBubbleSize val="0"/>
            </c:dLbl>
            <c:dLbl>
              <c:idx val="2"/>
              <c:tx>
                <c:rich>
                  <a:bodyPr/>
                  <a:lstStyle/>
                  <a:p>
                    <a:r>
                      <a:rPr>
                        <a:solidFill>
                          <a:srgbClr val="FFFFFF"/>
                        </a:solidFill>
                      </a:rPr>
                      <a:t>6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92.7214</c:v>
                </c:pt>
                <c:pt idx="1">
                  <c:v>97.875775</c:v>
                </c:pt>
                <c:pt idx="2">
                  <c:v>69.05239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a:solidFill>
                          <a:srgbClr val="FFFFFF"/>
                        </a:solidFill>
                      </a:rPr>
                      <a:t>19.5</a:t>
                    </a:r>
                  </a:p>
                </c:rich>
              </c:tx>
              <c:showLegendKey val="0"/>
              <c:showVal val="1"/>
              <c:showCatName val="0"/>
              <c:showSerName val="0"/>
              <c:showPercent val="0"/>
              <c:showBubbleSize val="0"/>
            </c:dLbl>
            <c:dLbl>
              <c:idx val="1"/>
              <c:tx>
                <c:rich>
                  <a:bodyPr/>
                  <a:lstStyle/>
                  <a:p>
                    <a:r>
                      <a:rPr>
                        <a:solidFill>
                          <a:srgbClr val="FFFFFF"/>
                        </a:solidFill>
                      </a:rPr>
                      <a:t>17.6</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543755</c:v>
                </c:pt>
                <c:pt idx="1">
                  <c:v>17.645352</c:v>
                </c:pt>
                <c:pt idx="2">
                  <c:v>13.1104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3.1</a:t>
                    </a:r>
                  </a:p>
                </c:rich>
              </c:tx>
              <c:showLegendKey val="0"/>
              <c:showVal val="1"/>
              <c:showCatName val="0"/>
              <c:showSerName val="0"/>
              <c:showPercent val="0"/>
              <c:showBubbleSize val="0"/>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117917</c:v>
                </c:pt>
                <c:pt idx="1">
                  <c:v>3.047124</c:v>
                </c:pt>
                <c:pt idx="2">
                  <c:v>1.97648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47.1</a:t>
                    </a:r>
                  </a:p>
                </c:rich>
              </c:tx>
              <c:showLegendKey val="0"/>
              <c:showVal val="1"/>
              <c:showCatName val="0"/>
              <c:showSerName val="0"/>
              <c:showPercent val="0"/>
              <c:showBubbleSize val="0"/>
            </c:dLbl>
            <c:dLbl>
              <c:idx val="1"/>
              <c:tx>
                <c:rich>
                  <a:bodyPr/>
                  <a:lstStyle/>
                  <a:p>
                    <a:r>
                      <a:rPr>
                        <a:solidFill>
                          <a:srgbClr val="FFFFFF"/>
                        </a:solidFill>
                      </a:rPr>
                      <a:t>47.3</a:t>
                    </a:r>
                  </a:p>
                </c:rich>
              </c:tx>
              <c:showLegendKey val="0"/>
              <c:showVal val="1"/>
              <c:showCatName val="0"/>
              <c:showSerName val="0"/>
              <c:showPercent val="0"/>
              <c:showBubbleSize val="0"/>
            </c:dLbl>
            <c:dLbl>
              <c:idx val="2"/>
              <c:tx>
                <c:rich>
                  <a:bodyPr/>
                  <a:lstStyle/>
                  <a:p>
                    <a:r>
                      <a:rPr>
                        <a:solidFill>
                          <a:srgbClr val="FFFFFF"/>
                        </a:solidFill>
                      </a:rPr>
                      <a:t>3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47.143458</c:v>
                </c:pt>
                <c:pt idx="1">
                  <c:v>47.275864</c:v>
                </c:pt>
                <c:pt idx="2">
                  <c:v>38.81204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172674</c:v>
                </c:pt>
                <c:pt idx="1">
                  <c:v>5.88947</c:v>
                </c:pt>
                <c:pt idx="2">
                  <c:v>4.20173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94695</c:v>
                </c:pt>
                <c:pt idx="1">
                  <c:v>1.555583</c:v>
                </c:pt>
                <c:pt idx="2">
                  <c:v>1.18053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89617</c:v>
                </c:pt>
                <c:pt idx="1">
                  <c:v>0.098006</c:v>
                </c:pt>
                <c:pt idx="2">
                  <c:v>0.052237</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39662</c:v>
                </c:pt>
                <c:pt idx="1">
                  <c:v>1.47895</c:v>
                </c:pt>
                <c:pt idx="2">
                  <c:v>1.22679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Private Label</c:v>
                </c:pt>
              </c:strCache>
            </c:strRef>
          </c:tx>
          <c:spPr>
            <a:solidFill>
              <a:srgbClr val="AEABAB"/>
            </a:solidFill>
            <a:ln>
              <a:solidFill>
                <a:schemeClr val="bg1"/>
              </a:solidFill>
            </a:ln>
            <a:effectLst/>
          </c:spPr>
          <c:invertIfNegative val="0"/>
          <c:dLbls>
            <c:dLbl>
              <c:idx val="0"/>
              <c:tx>
                <c:rich>
                  <a:bodyPr/>
                  <a:lstStyle/>
                  <a:p>
                    <a:r>
                      <a:rPr>
                        <a:solidFill>
                          <a:srgbClr val="FFFFFF"/>
                        </a:solidFill>
                      </a:rPr>
                      <a:t>52.8</a:t>
                    </a:r>
                  </a:p>
                </c:rich>
              </c:tx>
              <c:showLegendKey val="0"/>
              <c:showVal val="1"/>
              <c:showCatName val="0"/>
              <c:showSerName val="0"/>
              <c:showPercent val="0"/>
              <c:showBubbleSize val="0"/>
            </c:dLbl>
            <c:dLbl>
              <c:idx val="1"/>
              <c:tx>
                <c:rich>
                  <a:bodyPr/>
                  <a:lstStyle/>
                  <a:p>
                    <a:r>
                      <a:rPr>
                        <a:solidFill>
                          <a:srgbClr val="FFFFFF"/>
                        </a:solidFill>
                      </a:rPr>
                      <a:t>61.4</a:t>
                    </a:r>
                  </a:p>
                </c:rich>
              </c:tx>
              <c:showLegendKey val="0"/>
              <c:showVal val="1"/>
              <c:showCatName val="0"/>
              <c:showSerName val="0"/>
              <c:showPercent val="0"/>
              <c:showBubbleSize val="0"/>
            </c:dLbl>
            <c:dLbl>
              <c:idx val="2"/>
              <c:tx>
                <c:rich>
                  <a:bodyPr/>
                  <a:lstStyle/>
                  <a:p>
                    <a:r>
                      <a:rPr>
                        <a:solidFill>
                          <a:srgbClr val="FFFFFF"/>
                        </a:solidFill>
                      </a:rPr>
                      <a:t>4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2.849614</c:v>
                </c:pt>
                <c:pt idx="1">
                  <c:v>61.380705</c:v>
                </c:pt>
                <c:pt idx="2">
                  <c:v>44.63084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Galbani</c:v>
                </c:pt>
              </c:strCache>
            </c:strRef>
          </c:tx>
          <c:spPr>
            <a:solidFill>
              <a:srgbClr val="A6A6A6"/>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138535</c:v>
                </c:pt>
                <c:pt idx="1">
                  <c:v>18.737305</c:v>
                </c:pt>
                <c:pt idx="2">
                  <c:v>15.66039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oursin</c:v>
                </c:pt>
              </c:strCache>
            </c:strRef>
          </c:tx>
          <c:spPr>
            <a:solidFill>
              <a:srgbClr val="00A097"/>
            </a:solidFill>
            <a:ln>
              <a:solidFill>
                <a:schemeClr val="bg1"/>
              </a:solidFill>
            </a:ln>
            <a:effectLst/>
          </c:spPr>
          <c:invertIfNegative val="0"/>
          <c:dLbls>
            <c:dLbl>
              <c:idx val="0"/>
              <c:tx>
                <c:rich>
                  <a:bodyPr/>
                  <a:lstStyle/>
                  <a:p>
                    <a:r>
                      <a:rPr>
                        <a:solidFill>
                          <a:srgbClr val="FFFFFF"/>
                        </a:solidFill>
                      </a:rPr>
                      <a:t>1.7</a:t>
                    </a:r>
                  </a:p>
                </c:rich>
              </c:tx>
              <c:showLegendKey val="0"/>
              <c:showVal val="1"/>
              <c:showCatName val="0"/>
              <c:showSerName val="0"/>
              <c:showPercent val="0"/>
              <c:showBubbleSize val="0"/>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713976</c:v>
                </c:pt>
                <c:pt idx="1">
                  <c:v>1.862253</c:v>
                </c:pt>
                <c:pt idx="2">
                  <c:v>1.05164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Others</c:v>
                </c:pt>
              </c:strCache>
            </c:strRef>
          </c:tx>
          <c:spPr>
            <a:solidFill>
              <a:srgbClr val="7F7F7F"/>
            </a:solidFill>
            <a:ln>
              <a:solidFill>
                <a:schemeClr val="bg1"/>
              </a:solidFill>
            </a:ln>
            <a:effectLst/>
          </c:spPr>
          <c:invertIfNegative val="0"/>
          <c:dLbls>
            <c:dLbl>
              <c:idx val="0"/>
              <c:tx>
                <c:rich>
                  <a:bodyPr/>
                  <a:lstStyle/>
                  <a:p>
                    <a:r>
                      <a:rPr>
                        <a:solidFill>
                          <a:srgbClr val="FFFFFF"/>
                        </a:solidFill>
                      </a:rPr>
                      <a:t>18.4</a:t>
                    </a:r>
                  </a:p>
                </c:rich>
              </c:tx>
              <c:showLegendKey val="0"/>
              <c:showVal val="1"/>
              <c:showCatName val="0"/>
              <c:showSerName val="0"/>
              <c:showPercent val="0"/>
              <c:showBubbleSize val="0"/>
            </c:dLbl>
            <c:dLbl>
              <c:idx val="1"/>
              <c:tx>
                <c:rich>
                  <a:bodyPr/>
                  <a:lstStyle/>
                  <a:p>
                    <a:r>
                      <a:rPr>
                        <a:solidFill>
                          <a:srgbClr val="FFFFFF"/>
                        </a:solidFill>
                      </a:rPr>
                      <a:t>21.7</a:t>
                    </a:r>
                  </a:p>
                </c:rich>
              </c:tx>
              <c:showLegendKey val="0"/>
              <c:showVal val="1"/>
              <c:showCatName val="0"/>
              <c:showSerName val="0"/>
              <c:showPercent val="0"/>
              <c:showBubbleSize val="0"/>
            </c:dLbl>
            <c:dLbl>
              <c:idx val="2"/>
              <c:tx>
                <c:rich>
                  <a:bodyPr/>
                  <a:lstStyle/>
                  <a:p>
                    <a:r>
                      <a:rPr>
                        <a:solidFill>
                          <a:srgbClr val="FFFFFF"/>
                        </a:solidFill>
                      </a:rPr>
                      <a:t>1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8.405454</c:v>
                </c:pt>
                <c:pt idx="1">
                  <c:v>21.749063</c:v>
                </c:pt>
                <c:pt idx="2">
                  <c:v>19.28243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7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83.1</a:t>
                    </a:r>
                  </a:p>
                </c:rich>
              </c:tx>
              <c:showLegendKey val="0"/>
              <c:showVal val="1"/>
              <c:showCatName val="0"/>
              <c:showSerName val="0"/>
              <c:showPercent val="0"/>
              <c:showBubbleSize val="0"/>
            </c:dLbl>
            <c:dLbl>
              <c:idx val="2"/>
              <c:tx>
                <c:rich>
                  <a:bodyPr/>
                  <a:lstStyle/>
                  <a:p>
                    <a:r>
                      <a:rPr>
                        <a:solidFill>
                          <a:srgbClr val="FFFFFF"/>
                        </a:solidFill>
                      </a:rPr>
                      <a:t>23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70.988009</c:v>
                </c:pt>
                <c:pt idx="1">
                  <c:v>383.081661</c:v>
                </c:pt>
                <c:pt idx="2">
                  <c:v>232.91634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8.4</a:t>
                    </a:r>
                  </a:p>
                </c:rich>
              </c:tx>
              <c:showLegendKey val="0"/>
              <c:showVal val="1"/>
              <c:showCatName val="0"/>
              <c:showSerName val="0"/>
              <c:showPercent val="0"/>
              <c:showBubbleSize val="0"/>
            </c:dLbl>
            <c:dLbl>
              <c:idx val="2"/>
              <c:tx>
                <c:rich>
                  <a:bodyPr/>
                  <a:lstStyle/>
                  <a:p>
                    <a:r>
                      <a:rPr>
                        <a:solidFill>
                          <a:srgbClr val="FFFFFF"/>
                        </a:solidFill>
                      </a:rPr>
                      <a:t>1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0.524255</c:v>
                </c:pt>
                <c:pt idx="1">
                  <c:v>168.400314</c:v>
                </c:pt>
                <c:pt idx="2">
                  <c:v>16.5863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9</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1.422249</c:v>
                </c:pt>
                <c:pt idx="1">
                  <c:v>82.857273</c:v>
                </c:pt>
                <c:pt idx="2">
                  <c:v>7.9629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0</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1.135872</c:v>
                </c:pt>
                <c:pt idx="1">
                  <c:v>71.046724</c:v>
                </c:pt>
                <c:pt idx="2">
                  <c:v>6.73994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6.2</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55.233959</c:v>
                </c:pt>
                <c:pt idx="1">
                  <c:v>56.175207</c:v>
                </c:pt>
                <c:pt idx="2">
                  <c:v>4.80360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9</a:t>
                    </a:r>
                  </a:p>
                </c:rich>
              </c:tx>
              <c:showLegendKey val="0"/>
              <c:showVal val="1"/>
              <c:showCatName val="0"/>
              <c:showSerName val="0"/>
              <c:showPercent val="0"/>
              <c:showBubbleSize val="0"/>
            </c:dLbl>
            <c:dLbl>
              <c:idx val="2"/>
              <c:tx>
                <c:rich>
                  <a:bodyPr/>
                  <a:lstStyle/>
                  <a:p>
                    <a:r>
                      <a:rPr>
                        <a:solidFill>
                          <a:srgbClr val="FFFFFF"/>
                        </a:solidFill>
                      </a:rPr>
                      <a:t>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1.070009</c:v>
                </c:pt>
                <c:pt idx="1">
                  <c:v>33.860053</c:v>
                </c:pt>
                <c:pt idx="2">
                  <c:v>3.52018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1</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2.713895</c:v>
                </c:pt>
                <c:pt idx="1">
                  <c:v>22.122247</c:v>
                </c:pt>
                <c:pt idx="2">
                  <c:v>2.151865</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6</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35.231502</c:v>
                </c:pt>
                <c:pt idx="1">
                  <c:v>36.58948</c:v>
                </c:pt>
                <c:pt idx="2">
                  <c:v>3.17215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0.754341</c:v>
                </c:pt>
                <c:pt idx="1">
                  <c:v>10.314264</c:v>
                </c:pt>
                <c:pt idx="2">
                  <c:v>5.87009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9.864414</c:v>
                </c:pt>
                <c:pt idx="1">
                  <c:v>20.812313</c:v>
                </c:pt>
                <c:pt idx="2">
                  <c:v>2.072726</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632772</c:v>
                </c:pt>
                <c:pt idx="1">
                  <c:v>0.771757</c:v>
                </c:pt>
                <c:pt idx="2">
                  <c:v>0.488299</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2e-06</c:v>
                </c:pt>
                <c:pt idx="2">
                  <c:v>0.000395</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0.001579</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4.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a:solidFill>
                          <a:srgbClr val="FFFFFF"/>
                        </a:solidFill>
                      </a:rPr>
                      <a:t>4102.4</a:t>
                    </a:r>
                  </a:p>
                </c:rich>
              </c:tx>
              <c:showLegendKey val="0"/>
              <c:showVal val="1"/>
              <c:showCatName val="0"/>
              <c:showSerName val="0"/>
              <c:showPercent val="0"/>
              <c:showBubbleSize val="0"/>
            </c:dLbl>
            <c:dLbl>
              <c:idx val="1"/>
              <c:tx>
                <c:rich>
                  <a:bodyPr/>
                  <a:lstStyle/>
                  <a:p>
                    <a:r>
                      <a:rPr>
                        <a:solidFill>
                          <a:srgbClr val="FFFFFF"/>
                        </a:solidFill>
                      </a:rPr>
                      <a:t>4258.8</a:t>
                    </a:r>
                  </a:p>
                </c:rich>
              </c:tx>
              <c:showLegendKey val="0"/>
              <c:showVal val="1"/>
              <c:showCatName val="0"/>
              <c:showSerName val="0"/>
              <c:showPercent val="0"/>
              <c:showBubbleSize val="0"/>
            </c:dLbl>
            <c:dLbl>
              <c:idx val="2"/>
              <c:tx>
                <c:rich>
                  <a:bodyPr/>
                  <a:lstStyle/>
                  <a:p>
                    <a:r>
                      <a:rPr>
                        <a:solidFill>
                          <a:srgbClr val="FFFFFF"/>
                        </a:solidFill>
                      </a:rPr>
                      <a:t>262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102.400187</c:v>
                </c:pt>
                <c:pt idx="1">
                  <c:v>4258.760901</c:v>
                </c:pt>
                <c:pt idx="2">
                  <c:v>2622.867599</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a:solidFill>
                          <a:srgbClr val="FFFFFF"/>
                        </a:solidFill>
                      </a:rPr>
                      <a:t>1816.1</a:t>
                    </a:r>
                  </a:p>
                </c:rich>
              </c:tx>
              <c:showLegendKey val="0"/>
              <c:showVal val="1"/>
              <c:showCatName val="0"/>
              <c:showSerName val="0"/>
              <c:showPercent val="0"/>
              <c:showBubbleSize val="0"/>
            </c:dLbl>
            <c:dLbl>
              <c:idx val="1"/>
              <c:tx>
                <c:rich>
                  <a:bodyPr/>
                  <a:lstStyle/>
                  <a:p>
                    <a:r>
                      <a:rPr>
                        <a:solidFill>
                          <a:srgbClr val="FFFFFF"/>
                        </a:solidFill>
                      </a:rPr>
                      <a:t>1889.1</a:t>
                    </a:r>
                  </a:p>
                </c:rich>
              </c:tx>
              <c:showLegendKey val="0"/>
              <c:showVal val="1"/>
              <c:showCatName val="0"/>
              <c:showSerName val="0"/>
              <c:showPercent val="0"/>
              <c:showBubbleSize val="0"/>
            </c:dLbl>
            <c:dLbl>
              <c:idx val="2"/>
              <c:tx>
                <c:rich>
                  <a:bodyPr/>
                  <a:lstStyle/>
                  <a:p>
                    <a:r>
                      <a:rPr>
                        <a:solidFill>
                          <a:srgbClr val="FFFFFF"/>
                        </a:solidFill>
                      </a:rPr>
                      <a:t>17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16.084645</c:v>
                </c:pt>
                <c:pt idx="1">
                  <c:v>1889.139514</c:v>
                </c:pt>
                <c:pt idx="2">
                  <c:v>174.75227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047.3</a:t>
                    </a:r>
                  </a:p>
                </c:rich>
              </c:tx>
              <c:showLegendKey val="0"/>
              <c:showVal val="1"/>
              <c:showCatName val="0"/>
              <c:showSerName val="0"/>
              <c:showPercent val="0"/>
              <c:showBubbleSize val="0"/>
            </c:dLbl>
            <c:dLbl>
              <c:idx val="1"/>
              <c:tx>
                <c:rich>
                  <a:bodyPr/>
                  <a:lstStyle/>
                  <a:p>
                    <a:r>
                      <a:rPr>
                        <a:solidFill>
                          <a:srgbClr val="FFFFFF"/>
                        </a:solidFill>
                      </a:rPr>
                      <a:t>1061.7</a:t>
                    </a:r>
                  </a:p>
                </c:rich>
              </c:tx>
              <c:showLegendKey val="0"/>
              <c:showVal val="1"/>
              <c:showCatName val="0"/>
              <c:showSerName val="0"/>
              <c:showPercent val="0"/>
              <c:showBubbleSize val="0"/>
            </c:dLbl>
            <c:dLbl>
              <c:idx val="2"/>
              <c:tx>
                <c:rich>
                  <a:bodyPr/>
                  <a:lstStyle/>
                  <a:p>
                    <a:r>
                      <a:rPr>
                        <a:solidFill>
                          <a:srgbClr val="FFFFFF"/>
                        </a:solidFill>
                      </a:rPr>
                      <a:t>10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47.344973</c:v>
                </c:pt>
                <c:pt idx="1">
                  <c:v>1061.738607</c:v>
                </c:pt>
                <c:pt idx="2">
                  <c:v>101.68277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a:solidFill>
                          <a:srgbClr val="FFFFFF"/>
                        </a:solidFill>
                      </a:rPr>
                      <a:t>903.8</a:t>
                    </a:r>
                  </a:p>
                </c:rich>
              </c:tx>
              <c:showLegendKey val="0"/>
              <c:showVal val="1"/>
              <c:showCatName val="0"/>
              <c:showSerName val="0"/>
              <c:showPercent val="0"/>
              <c:showBubbleSize val="0"/>
            </c:dLbl>
            <c:dLbl>
              <c:idx val="1"/>
              <c:tx>
                <c:rich>
                  <a:bodyPr/>
                  <a:lstStyle/>
                  <a:p>
                    <a:r>
                      <a:rPr>
                        <a:solidFill>
                          <a:srgbClr val="FFFFFF"/>
                        </a:solidFill>
                      </a:rPr>
                      <a:t>917.2</a:t>
                    </a:r>
                  </a:p>
                </c:rich>
              </c:tx>
              <c:showLegendKey val="0"/>
              <c:showVal val="1"/>
              <c:showCatName val="0"/>
              <c:showSerName val="0"/>
              <c:showPercent val="0"/>
              <c:showBubbleSize val="0"/>
            </c:dLbl>
            <c:dLbl>
              <c:idx val="2"/>
              <c:tx>
                <c:rich>
                  <a:bodyPr/>
                  <a:lstStyle/>
                  <a:p>
                    <a:r>
                      <a:rPr>
                        <a:solidFill>
                          <a:srgbClr val="FFFFFF"/>
                        </a:solidFill>
                      </a:rPr>
                      <a:t>8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03.762464</c:v>
                </c:pt>
                <c:pt idx="1">
                  <c:v>917.203549</c:v>
                </c:pt>
                <c:pt idx="2">
                  <c:v>80.37847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654.9</a:t>
                    </a:r>
                  </a:p>
                </c:rich>
              </c:tx>
              <c:showLegendKey val="0"/>
              <c:showVal val="1"/>
              <c:showCatName val="0"/>
              <c:showSerName val="0"/>
              <c:showPercent val="0"/>
              <c:showBubbleSize val="0"/>
            </c:dLbl>
            <c:dLbl>
              <c:idx val="1"/>
              <c:tx>
                <c:rich>
                  <a:bodyPr/>
                  <a:lstStyle/>
                  <a:p>
                    <a:r>
                      <a:rPr>
                        <a:solidFill>
                          <a:srgbClr val="FFFFFF"/>
                        </a:solidFill>
                      </a:rPr>
                      <a:t>684.3</a:t>
                    </a:r>
                  </a:p>
                </c:rich>
              </c:tx>
              <c:showLegendKey val="0"/>
              <c:showVal val="1"/>
              <c:showCatName val="0"/>
              <c:showSerName val="0"/>
              <c:showPercent val="0"/>
              <c:showBubbleSize val="0"/>
            </c:dLbl>
            <c:dLbl>
              <c:idx val="2"/>
              <c:tx>
                <c:rich>
                  <a:bodyPr/>
                  <a:lstStyle/>
                  <a:p>
                    <a:r>
                      <a:rPr>
                        <a:solidFill>
                          <a:srgbClr val="FFFFFF"/>
                        </a:solidFill>
                      </a:rPr>
                      <a:t>5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54.948529</c:v>
                </c:pt>
                <c:pt idx="1">
                  <c:v>684.342188</c:v>
                </c:pt>
                <c:pt idx="2">
                  <c:v>59.77397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403.1</a:t>
                    </a:r>
                  </a:p>
                </c:rich>
              </c:tx>
              <c:showLegendKey val="0"/>
              <c:showVal val="1"/>
              <c:showCatName val="0"/>
              <c:showSerName val="0"/>
              <c:showPercent val="0"/>
              <c:showBubbleSize val="0"/>
            </c:dLbl>
            <c:dLbl>
              <c:idx val="1"/>
              <c:tx>
                <c:rich>
                  <a:bodyPr/>
                  <a:lstStyle/>
                  <a:p>
                    <a:r>
                      <a:rPr>
                        <a:solidFill>
                          <a:srgbClr val="FFFFFF"/>
                        </a:solidFill>
                      </a:rPr>
                      <a:t>421.7</a:t>
                    </a:r>
                  </a:p>
                </c:rich>
              </c:tx>
              <c:showLegendKey val="0"/>
              <c:showVal val="1"/>
              <c:showCatName val="0"/>
              <c:showSerName val="0"/>
              <c:showPercent val="0"/>
              <c:showBubbleSize val="0"/>
            </c:dLbl>
            <c:dLbl>
              <c:idx val="2"/>
              <c:tx>
                <c:rich>
                  <a:bodyPr/>
                  <a:lstStyle/>
                  <a:p>
                    <a:r>
                      <a:rPr>
                        <a:solidFill>
                          <a:srgbClr val="FFFFFF"/>
                        </a:solidFill>
                      </a:rPr>
                      <a:t>4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403.134736</c:v>
                </c:pt>
                <c:pt idx="1">
                  <c:v>421.715946</c:v>
                </c:pt>
                <c:pt idx="2">
                  <c:v>42.68352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363.8</a:t>
                    </a:r>
                  </a:p>
                </c:rich>
              </c:tx>
              <c:showLegendKey val="0"/>
              <c:showVal val="1"/>
              <c:showCatName val="0"/>
              <c:showSerName val="0"/>
              <c:showPercent val="0"/>
              <c:showBubbleSize val="0"/>
            </c:dLbl>
            <c:dLbl>
              <c:idx val="1"/>
              <c:tx>
                <c:rich>
                  <a:bodyPr/>
                  <a:lstStyle/>
                  <a:p>
                    <a:r>
                      <a:rPr>
                        <a:solidFill>
                          <a:srgbClr val="FFFFFF"/>
                        </a:solidFill>
                      </a:rPr>
                      <a:t>355.9</a:t>
                    </a:r>
                  </a:p>
                </c:rich>
              </c:tx>
              <c:showLegendKey val="0"/>
              <c:showVal val="1"/>
              <c:showCatName val="0"/>
              <c:showSerName val="0"/>
              <c:showPercent val="0"/>
              <c:showBubbleSize val="0"/>
            </c:dLbl>
            <c:dLbl>
              <c:idx val="2"/>
              <c:tx>
                <c:rich>
                  <a:bodyPr/>
                  <a:lstStyle/>
                  <a:p>
                    <a:r>
                      <a:rPr>
                        <a:solidFill>
                          <a:srgbClr val="FFFFFF"/>
                        </a:solidFill>
                      </a:rPr>
                      <a:t>3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63.792414</c:v>
                </c:pt>
                <c:pt idx="1">
                  <c:v>355.896761</c:v>
                </c:pt>
                <c:pt idx="2">
                  <c:v>35.42776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a:solidFill>
                          <a:srgbClr val="FFFFFF"/>
                        </a:solidFill>
                      </a:rPr>
                      <a:t>272.4</a:t>
                    </a:r>
                  </a:p>
                </c:rich>
              </c:tx>
              <c:showLegendKey val="0"/>
              <c:showVal val="1"/>
              <c:showCatName val="0"/>
              <c:showSerName val="0"/>
              <c:showPercent val="0"/>
              <c:showBubbleSize val="0"/>
            </c:dLbl>
            <c:dLbl>
              <c:idx val="1"/>
              <c:tx>
                <c:rich>
                  <a:bodyPr/>
                  <a:lstStyle/>
                  <a:p>
                    <a:r>
                      <a:rPr>
                        <a:solidFill>
                          <a:srgbClr val="FFFFFF"/>
                        </a:solidFill>
                      </a:rPr>
                      <a:t>281.5</a:t>
                    </a:r>
                  </a:p>
                </c:rich>
              </c:tx>
              <c:showLegendKey val="0"/>
              <c:showVal val="1"/>
              <c:showCatName val="0"/>
              <c:showSerName val="0"/>
              <c:showPercent val="0"/>
              <c:showBubbleSize val="0"/>
            </c:dLbl>
            <c:dLbl>
              <c:idx val="2"/>
              <c:tx>
                <c:rich>
                  <a:bodyPr/>
                  <a:lstStyle/>
                  <a:p>
                    <a:r>
                      <a:rPr>
                        <a:solidFill>
                          <a:srgbClr val="FFFFFF"/>
                        </a:solidFill>
                      </a:rPr>
                      <a:t>2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72.436171</c:v>
                </c:pt>
                <c:pt idx="1">
                  <c:v>281.461743</c:v>
                </c:pt>
                <c:pt idx="2">
                  <c:v>24.51508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tx>
                <c:rich>
                  <a:bodyPr/>
                  <a:lstStyle/>
                  <a:p>
                    <a:r>
                      <a:rPr>
                        <a:solidFill>
                          <a:srgbClr val="FFFFFF"/>
                        </a:solidFill>
                      </a:rPr>
                      <a:t>209.2</a:t>
                    </a:r>
                  </a:p>
                </c:rich>
              </c:tx>
              <c:showLegendKey val="0"/>
              <c:showVal val="1"/>
              <c:showCatName val="0"/>
              <c:showSerName val="0"/>
              <c:showPercent val="0"/>
              <c:showBubbleSize val="0"/>
            </c:dLbl>
            <c:dLbl>
              <c:idx val="1"/>
              <c:tx>
                <c:rich>
                  <a:bodyPr/>
                  <a:lstStyle/>
                  <a:p>
                    <a:r>
                      <a:rPr>
                        <a:solidFill>
                          <a:srgbClr val="FFFFFF"/>
                        </a:solidFill>
                      </a:rPr>
                      <a:t>201.0</a:t>
                    </a:r>
                  </a:p>
                </c:rich>
              </c:tx>
              <c:showLegendKey val="0"/>
              <c:showVal val="1"/>
              <c:showCatName val="0"/>
              <c:showSerName val="0"/>
              <c:showPercent val="0"/>
              <c:showBubbleSize val="0"/>
            </c:dLbl>
            <c:dLbl>
              <c:idx val="2"/>
              <c:tx>
                <c:rich>
                  <a:bodyPr/>
                  <a:lstStyle/>
                  <a:p>
                    <a:r>
                      <a:rPr>
                        <a:solidFill>
                          <a:srgbClr val="FFFFFF"/>
                        </a:solidFill>
                      </a:rPr>
                      <a:t>11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09.196476</c:v>
                </c:pt>
                <c:pt idx="1">
                  <c:v>200.999831</c:v>
                </c:pt>
                <c:pt idx="2">
                  <c:v>115.280098</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152.4</a:t>
                    </a:r>
                  </a:p>
                </c:rich>
              </c:tx>
              <c:showLegendKey val="0"/>
              <c:showVal val="1"/>
              <c:showCatName val="0"/>
              <c:showSerName val="0"/>
              <c:showPercent val="0"/>
              <c:showBubbleSize val="0"/>
            </c:dLbl>
            <c:dLbl>
              <c:idx val="1"/>
              <c:tx>
                <c:rich>
                  <a:bodyPr/>
                  <a:lstStyle/>
                  <a:p>
                    <a:r>
                      <a:rPr>
                        <a:solidFill>
                          <a:srgbClr val="FFFFFF"/>
                        </a:solidFill>
                      </a:rPr>
                      <a:t>157.3</a:t>
                    </a:r>
                  </a:p>
                </c:rich>
              </c:tx>
              <c:showLegendKey val="0"/>
              <c:showVal val="1"/>
              <c:showCatName val="0"/>
              <c:showSerName val="0"/>
              <c:showPercent val="0"/>
              <c:showBubbleSize val="0"/>
            </c:dLbl>
            <c:dLbl>
              <c:idx val="2"/>
              <c:tx>
                <c:rich>
                  <a:bodyPr/>
                  <a:lstStyle/>
                  <a:p>
                    <a:r>
                      <a:rPr>
                        <a:solidFill>
                          <a:srgbClr val="FFFFFF"/>
                        </a:solidFill>
                      </a:rPr>
                      <a:t>1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52.404823</c:v>
                </c:pt>
                <c:pt idx="1">
                  <c:v>157.250019</c:v>
                </c:pt>
                <c:pt idx="2">
                  <c:v>15.608737</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10.5</a:t>
                    </a:r>
                  </a:p>
                </c:rich>
              </c:tx>
              <c:showLegendKey val="0"/>
              <c:showVal val="1"/>
              <c:showCatName val="0"/>
              <c:showSerName val="0"/>
              <c:showPercent val="0"/>
              <c:showBubbleSize val="0"/>
            </c:dLbl>
            <c:dLbl>
              <c:idx val="1"/>
              <c:tx>
                <c:rich>
                  <a:bodyPr/>
                  <a:lstStyle/>
                  <a:p>
                    <a:r>
                      <a:rPr>
                        <a:solidFill>
                          <a:srgbClr val="FFFFFF"/>
                        </a:solidFill>
                      </a:rPr>
                      <a:t>12.8</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10.519084</c:v>
                </c:pt>
                <c:pt idx="1">
                  <c:v>12.807896</c:v>
                </c:pt>
                <c:pt idx="2">
                  <c:v>8.038845</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3.9e-05</c:v>
                </c:pt>
                <c:pt idx="2">
                  <c:v>0.009697</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0.030539</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0.0006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8.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3</a:t>
                    </a:r>
                  </a:p>
                </c:rich>
              </c:tx>
              <c:showLegendKey val="0"/>
              <c:showVal val="1"/>
              <c:showCatName val="0"/>
              <c:showSerName val="0"/>
              <c:showPercent val="0"/>
              <c:showBubbleSize val="0"/>
            </c:dLbl>
            <c:dLbl>
              <c:idx val="2"/>
              <c:tx>
                <c:rich>
                  <a:bodyPr/>
                  <a:lstStyle/>
                  <a:p>
                    <a:r>
                      <a:rPr>
                        <a:solidFill>
                          <a:srgbClr val="FFFFFF"/>
                        </a:solidFill>
                      </a:rPr>
                      <a:t>3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8.250321</c:v>
                </c:pt>
                <c:pt idx="1">
                  <c:v>59.283936</c:v>
                </c:pt>
                <c:pt idx="2">
                  <c:v>37.2869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4.816698</c:v>
                </c:pt>
                <c:pt idx="1">
                  <c:v>25.052342</c:v>
                </c:pt>
                <c:pt idx="2">
                  <c:v>0.39211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665004</c:v>
                </c:pt>
                <c:pt idx="1">
                  <c:v>11.587103</c:v>
                </c:pt>
                <c:pt idx="2">
                  <c:v>0.158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348773</c:v>
                </c:pt>
                <c:pt idx="1">
                  <c:v>10.367845</c:v>
                </c:pt>
                <c:pt idx="2">
                  <c:v>0.16486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8.513183</c:v>
                </c:pt>
                <c:pt idx="1">
                  <c:v>8.620148</c:v>
                </c:pt>
                <c:pt idx="2">
                  <c:v>0.31381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381502</c:v>
                </c:pt>
                <c:pt idx="1">
                  <c:v>5.477965</c:v>
                </c:pt>
                <c:pt idx="2">
                  <c:v>0.0662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478069</c:v>
                </c:pt>
                <c:pt idx="1">
                  <c:v>3.434087</c:v>
                </c:pt>
                <c:pt idx="2">
                  <c:v>0.050238</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4.757894</c:v>
                </c:pt>
                <c:pt idx="1">
                  <c:v>4.906471</c:v>
                </c:pt>
                <c:pt idx="2">
                  <c:v>0.07411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720917</c:v>
                </c:pt>
                <c:pt idx="1">
                  <c:v>1.681029</c:v>
                </c:pt>
                <c:pt idx="2">
                  <c:v>1.040701</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939604</c:v>
                </c:pt>
                <c:pt idx="1">
                  <c:v>2.945373</c:v>
                </c:pt>
                <c:pt idx="2">
                  <c:v>0.054907</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140322</c:v>
                </c:pt>
                <c:pt idx="1">
                  <c:v>0.187962</c:v>
                </c:pt>
                <c:pt idx="2">
                  <c:v>0.1269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a:solidFill>
                          <a:srgbClr val="FFFFFF"/>
                        </a:solidFill>
                      </a:rPr>
                      <a:t>695.6</a:t>
                    </a:r>
                  </a:p>
                </c:rich>
              </c:tx>
              <c:showLegendKey val="0"/>
              <c:showVal val="1"/>
              <c:showCatName val="0"/>
              <c:showSerName val="0"/>
              <c:showPercent val="0"/>
              <c:showBubbleSize val="0"/>
            </c:dLbl>
            <c:dLbl>
              <c:idx val="1"/>
              <c:tx>
                <c:rich>
                  <a:bodyPr/>
                  <a:lstStyle/>
                  <a:p>
                    <a:r>
                      <a:rPr>
                        <a:solidFill>
                          <a:srgbClr val="FFFFFF"/>
                        </a:solidFill>
                      </a:rPr>
                      <a:t>708.0</a:t>
                    </a:r>
                  </a:p>
                </c:rich>
              </c:tx>
              <c:showLegendKey val="0"/>
              <c:showVal val="1"/>
              <c:showCatName val="0"/>
              <c:showSerName val="0"/>
              <c:showPercent val="0"/>
              <c:showBubbleSize val="0"/>
            </c:dLbl>
            <c:dLbl>
              <c:idx val="2"/>
              <c:tx>
                <c:rich>
                  <a:bodyPr/>
                  <a:lstStyle/>
                  <a:p>
                    <a:r>
                      <a:rPr>
                        <a:solidFill>
                          <a:srgbClr val="FFFFFF"/>
                        </a:solidFill>
                      </a:rPr>
                      <a:t>45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695.554934</c:v>
                </c:pt>
                <c:pt idx="1">
                  <c:v>707.98996</c:v>
                </c:pt>
                <c:pt idx="2">
                  <c:v>450.4674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a:solidFill>
                          <a:srgbClr val="FFFFFF"/>
                        </a:solidFill>
                      </a:rPr>
                      <a:t>294.9</a:t>
                    </a:r>
                  </a:p>
                </c:rich>
              </c:tx>
              <c:showLegendKey val="0"/>
              <c:showVal val="1"/>
              <c:showCatName val="0"/>
              <c:showSerName val="0"/>
              <c:showPercent val="0"/>
              <c:showBubbleSize val="0"/>
            </c:dLbl>
            <c:dLbl>
              <c:idx val="1"/>
              <c:tx>
                <c:rich>
                  <a:bodyPr/>
                  <a:lstStyle/>
                  <a:p>
                    <a:r>
                      <a:rPr>
                        <a:solidFill>
                          <a:srgbClr val="FFFFFF"/>
                        </a:solidFill>
                      </a:rPr>
                      <a:t>295.1</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94.864337</c:v>
                </c:pt>
                <c:pt idx="1">
                  <c:v>295.147142</c:v>
                </c:pt>
                <c:pt idx="2">
                  <c:v>4.50932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62.6</a:t>
                    </a:r>
                  </a:p>
                </c:rich>
              </c:tx>
              <c:showLegendKey val="0"/>
              <c:showVal val="1"/>
              <c:showCatName val="0"/>
              <c:showSerName val="0"/>
              <c:showPercent val="0"/>
              <c:showBubbleSize val="0"/>
            </c:dLbl>
            <c:dLbl>
              <c:idx val="1"/>
              <c:tx>
                <c:rich>
                  <a:bodyPr/>
                  <a:lstStyle/>
                  <a:p>
                    <a:r>
                      <a:rPr>
                        <a:solidFill>
                          <a:srgbClr val="FFFFFF"/>
                        </a:solidFill>
                      </a:rPr>
                      <a:t>162.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2.630268</c:v>
                </c:pt>
                <c:pt idx="1">
                  <c:v>162.494303</c:v>
                </c:pt>
                <c:pt idx="2">
                  <c:v>2.26635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a:solidFill>
                          <a:srgbClr val="FFFFFF"/>
                        </a:solidFill>
                      </a:rPr>
                      <a:t>144.5</a:t>
                    </a:r>
                  </a:p>
                </c:rich>
              </c:tx>
              <c:showLegendKey val="0"/>
              <c:showVal val="1"/>
              <c:showCatName val="0"/>
              <c:showSerName val="0"/>
              <c:showPercent val="0"/>
              <c:showBubbleSize val="0"/>
            </c:dLbl>
            <c:dLbl>
              <c:idx val="1"/>
              <c:tx>
                <c:rich>
                  <a:bodyPr/>
                  <a:lstStyle/>
                  <a:p>
                    <a:r>
                      <a:rPr>
                        <a:solidFill>
                          <a:srgbClr val="FFFFFF"/>
                        </a:solidFill>
                      </a:rPr>
                      <a:t>146.4</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44.518265</c:v>
                </c:pt>
                <c:pt idx="1">
                  <c:v>146.399442</c:v>
                </c:pt>
                <c:pt idx="2">
                  <c:v>2.50682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108.4</a:t>
                    </a:r>
                  </a:p>
                </c:rich>
              </c:tx>
              <c:showLegendKey val="0"/>
              <c:showVal val="1"/>
              <c:showCatName val="0"/>
              <c:showSerName val="0"/>
              <c:showPercent val="0"/>
              <c:showBubbleSize val="0"/>
            </c:dLbl>
            <c:dLbl>
              <c:idx val="1"/>
              <c:tx>
                <c:rich>
                  <a:bodyPr/>
                  <a:lstStyle/>
                  <a:p>
                    <a:r>
                      <a:rPr>
                        <a:solidFill>
                          <a:srgbClr val="FFFFFF"/>
                        </a:solidFill>
                      </a:rPr>
                      <a:t>113.1</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8.375273</c:v>
                </c:pt>
                <c:pt idx="1">
                  <c:v>113.080842</c:v>
                </c:pt>
                <c:pt idx="2">
                  <c:v>4.162256</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72.1</a:t>
                    </a:r>
                  </a:p>
                </c:rich>
              </c:tx>
              <c:showLegendKey val="0"/>
              <c:showVal val="1"/>
              <c:showCatName val="0"/>
              <c:showSerName val="0"/>
              <c:showPercent val="0"/>
              <c:showBubbleSize val="0"/>
            </c:dLbl>
            <c:dLbl>
              <c:idx val="1"/>
              <c:tx>
                <c:rich>
                  <a:bodyPr/>
                  <a:lstStyle/>
                  <a:p>
                    <a:r>
                      <a:rPr>
                        <a:solidFill>
                          <a:srgbClr val="FFFFFF"/>
                        </a:solidFill>
                      </a:rPr>
                      <a:t>71.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72.102166</c:v>
                </c:pt>
                <c:pt idx="1">
                  <c:v>71.6009</c:v>
                </c:pt>
                <c:pt idx="2">
                  <c:v>0.86167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59.3</a:t>
                    </a:r>
                  </a:p>
                </c:rich>
              </c:tx>
              <c:showLegendKey val="0"/>
              <c:showVal val="1"/>
              <c:showCatName val="0"/>
              <c:showSerName val="0"/>
              <c:showPercent val="0"/>
              <c:showBubbleSize val="0"/>
            </c:dLbl>
            <c:dLbl>
              <c:idx val="1"/>
              <c:tx>
                <c:rich>
                  <a:bodyPr/>
                  <a:lstStyle/>
                  <a:p>
                    <a:r>
                      <a:rPr>
                        <a:solidFill>
                          <a:srgbClr val="FFFFFF"/>
                        </a:solidFill>
                      </a:rPr>
                      <a:t>58.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59.266342</c:v>
                </c:pt>
                <c:pt idx="1">
                  <c:v>58.204325</c:v>
                </c:pt>
                <c:pt idx="2">
                  <c:v>0.8587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a:solidFill>
                          <a:srgbClr val="FFFFFF"/>
                        </a:solidFill>
                      </a:rPr>
                      <a:t>39.3</a:t>
                    </a:r>
                  </a:p>
                </c:rich>
              </c:tx>
              <c:showLegendKey val="0"/>
              <c:showVal val="1"/>
              <c:showCatName val="0"/>
              <c:showSerName val="0"/>
              <c:showPercent val="0"/>
              <c:showBubbleSize val="0"/>
            </c:dLbl>
            <c:dLbl>
              <c:idx val="1"/>
              <c:tx>
                <c:rich>
                  <a:bodyPr/>
                  <a:lstStyle/>
                  <a:p>
                    <a:r>
                      <a:rPr>
                        <a:solidFill>
                          <a:srgbClr val="FFFFFF"/>
                        </a:solidFill>
                      </a:rPr>
                      <a:t>39.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39.319524</c:v>
                </c:pt>
                <c:pt idx="1">
                  <c:v>39.818945</c:v>
                </c:pt>
                <c:pt idx="2">
                  <c:v>0.584757</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Aperitif</c:v>
                </c:pt>
              </c:strCache>
            </c:strRef>
          </c:tx>
          <c:spPr>
            <a:solidFill>
              <a:srgbClr val="B2DFDC"/>
            </a:solidFill>
            <a:ln>
              <a:solidFill>
                <a:schemeClr val="bg1"/>
              </a:solidFill>
            </a:ln>
            <a:effectLst/>
          </c:spPr>
          <c:invertIfNegative val="0"/>
          <c:dLbls>
            <c:dLbl>
              <c:idx val="0"/>
              <c:tx>
                <c:rich>
                  <a:bodyPr/>
                  <a:lstStyle/>
                  <a:p>
                    <a:r>
                      <a:rPr>
                        <a:solidFill>
                          <a:srgbClr val="FFFFFF"/>
                        </a:solidFill>
                      </a:rPr>
                      <a:t>36.2</a:t>
                    </a:r>
                  </a:p>
                </c:rich>
              </c:tx>
              <c:showLegendKey val="0"/>
              <c:showVal val="1"/>
              <c:showCatName val="0"/>
              <c:showSerName val="0"/>
              <c:showPercent val="0"/>
              <c:showBubbleSize val="0"/>
            </c:dLbl>
            <c:dLbl>
              <c:idx val="1"/>
              <c:tx>
                <c:rich>
                  <a:bodyPr/>
                  <a:lstStyle/>
                  <a:p>
                    <a:r>
                      <a:rPr>
                        <a:solidFill>
                          <a:srgbClr val="FFFFFF"/>
                        </a:solidFill>
                      </a:rPr>
                      <a:t>35.1</a:t>
                    </a:r>
                  </a:p>
                </c:rich>
              </c:tx>
              <c:showLegendKey val="0"/>
              <c:showVal val="1"/>
              <c:showCatName val="0"/>
              <c:showSerName val="0"/>
              <c:showPercent val="0"/>
              <c:showBubbleSize val="0"/>
            </c:dLbl>
            <c:dLbl>
              <c:idx val="2"/>
              <c:tx>
                <c:rich>
                  <a:bodyPr/>
                  <a:lstStyle/>
                  <a:p>
                    <a:r>
                      <a:rPr>
                        <a:solidFill>
                          <a:srgbClr val="FFFFFF"/>
                        </a:solidFill>
                      </a:rPr>
                      <a:t>2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36.198449</c:v>
                </c:pt>
                <c:pt idx="1">
                  <c:v>35.076792</c:v>
                </c:pt>
                <c:pt idx="2">
                  <c:v>21.694452</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23.7</a:t>
                    </a:r>
                  </a:p>
                </c:rich>
              </c:tx>
              <c:showLegendKey val="0"/>
              <c:showVal val="1"/>
              <c:showCatName val="0"/>
              <c:showSerName val="0"/>
              <c:showPercent val="0"/>
              <c:showBubbleSize val="0"/>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693965</c:v>
                </c:pt>
                <c:pt idx="1">
                  <c:v>23.346696</c:v>
                </c:pt>
                <c:pt idx="2">
                  <c:v>0.423433</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2.491608</c:v>
                </c:pt>
                <c:pt idx="1">
                  <c:v>3.240199</c:v>
                </c:pt>
                <c:pt idx="2">
                  <c:v>2.2072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5.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8.5</a:t>
                    </a:r>
                  </a:p>
                </c:rich>
              </c:tx>
              <c:showLegendKey val="0"/>
              <c:showVal val="1"/>
              <c:showCatName val="0"/>
              <c:showSerName val="0"/>
              <c:showPercent val="0"/>
              <c:showBubbleSize val="0"/>
            </c:dLbl>
            <c:dLbl>
              <c:idx val="2"/>
              <c:tx>
                <c:rich>
                  <a:bodyPr/>
                  <a:lstStyle/>
                  <a:p>
                    <a:r>
                      <a:rPr>
                        <a:solidFill>
                          <a:srgbClr val="FFFFFF"/>
                        </a:solidFill>
                      </a:rPr>
                      <a:t>3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5.117503</c:v>
                </c:pt>
                <c:pt idx="1">
                  <c:v>48.478807</c:v>
                </c:pt>
                <c:pt idx="2">
                  <c:v>30.38227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2</a:t>
                    </a:r>
                  </a:p>
                </c:rich>
              </c:tx>
              <c:showLegendKey val="0"/>
              <c:showVal val="1"/>
              <c:showCatName val="0"/>
              <c:showSerName val="0"/>
              <c:showPercent val="0"/>
              <c:showBubbleSize val="0"/>
            </c:dLbl>
            <c:dLbl>
              <c:idx val="2"/>
              <c:tx>
                <c:rich>
                  <a:bodyPr/>
                  <a:lstStyle/>
                  <a:p>
                    <a:r>
                      <a:rPr>
                        <a:solidFill>
                          <a:srgbClr val="FFFFFF"/>
                        </a:solidFill>
                      </a:rPr>
                      <a:t>1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1.702758</c:v>
                </c:pt>
                <c:pt idx="1">
                  <c:v>24.226058</c:v>
                </c:pt>
                <c:pt idx="2">
                  <c:v>14.33779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411239</c:v>
                </c:pt>
                <c:pt idx="1">
                  <c:v>11.277067</c:v>
                </c:pt>
                <c:pt idx="2">
                  <c:v>6.9964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1</a:t>
                    </a:r>
                  </a:p>
                </c:rich>
              </c:tx>
              <c:showLegendKey val="0"/>
              <c:showVal val="1"/>
              <c:showCatName val="0"/>
              <c:showSerName val="0"/>
              <c:showPercent val="0"/>
              <c:showBubbleSize val="0"/>
            </c:dLbl>
            <c:dLbl>
              <c:idx val="2"/>
              <c:tx>
                <c:rich>
                  <a:bodyPr/>
                  <a:lstStyle/>
                  <a:p>
                    <a:r>
                      <a:rPr>
                        <a:solidFill>
                          <a:srgbClr val="FFFFFF"/>
                        </a:solidFill>
                      </a:rPr>
                      <a:t>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364901</c:v>
                </c:pt>
                <c:pt idx="1">
                  <c:v>10.050947</c:v>
                </c:pt>
                <c:pt idx="2">
                  <c:v>5.80385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6.783425</c:v>
                </c:pt>
                <c:pt idx="1">
                  <c:v>7.312541</c:v>
                </c:pt>
                <c:pt idx="2">
                  <c:v>3.14106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999654</c:v>
                </c:pt>
                <c:pt idx="1">
                  <c:v>4.695731</c:v>
                </c:pt>
                <c:pt idx="2">
                  <c:v>3.162219</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034376</c:v>
                </c:pt>
                <c:pt idx="1">
                  <c:v>3.099454</c:v>
                </c:pt>
                <c:pt idx="2">
                  <c:v>1.87204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Aperitif</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13287</c:v>
                </c:pt>
                <c:pt idx="1">
                  <c:v>1.859865</c:v>
                </c:pt>
                <c:pt idx="2">
                  <c:v>1.076154</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Ingredient A Chaud</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4.014886</c:v>
                </c:pt>
                <c:pt idx="1">
                  <c:v>4.49298</c:v>
                </c:pt>
                <c:pt idx="2">
                  <c:v>2.711082</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490083</c:v>
                </c:pt>
                <c:pt idx="1">
                  <c:v>2.777421</c:v>
                </c:pt>
                <c:pt idx="2">
                  <c:v>1.75746</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028615</c:v>
                </c:pt>
                <c:pt idx="1">
                  <c:v>0.078389</c:v>
                </c:pt>
                <c:pt idx="2">
                  <c:v>0.06353</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1e-06</c:v>
                </c:pt>
                <c:pt idx="2">
                  <c:v>0.00037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0.001549</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4.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2.194427</c:v>
                </c:pt>
                <c:pt idx="1">
                  <c:v>23.257474</c:v>
                </c:pt>
                <c:pt idx="2">
                  <c:v>14.24540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avencia</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6</a:t>
                    </a:r>
                  </a:p>
                </c:rich>
              </c:tx>
              <c:showLegendKey val="0"/>
              <c:showVal val="1"/>
              <c:showCatName val="0"/>
              <c:showSerName val="0"/>
              <c:showPercent val="0"/>
              <c:showBubbleSize val="0"/>
            </c:dLbl>
            <c:dLbl>
              <c:idx val="2"/>
              <c:tx>
                <c:rich>
                  <a:bodyPr/>
                  <a:lstStyle/>
                  <a:p>
                    <a:r>
                      <a:rPr>
                        <a:solidFill>
                          <a:srgbClr val="FFFFFF"/>
                        </a:solidFill>
                      </a:rPr>
                      <a:t>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0.725022</c:v>
                </c:pt>
                <c:pt idx="1">
                  <c:v>10.631408</c:v>
                </c:pt>
                <c:pt idx="2">
                  <c:v>6.83258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ctalis</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5.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346736</c:v>
                </c:pt>
                <c:pt idx="1">
                  <c:v>8.056814</c:v>
                </c:pt>
                <c:pt idx="2">
                  <c:v>5.04518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Bel</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4.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05742</c:v>
                </c:pt>
                <c:pt idx="1">
                  <c:v>7.323439</c:v>
                </c:pt>
                <c:pt idx="2">
                  <c:v>4.40681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1129</c:v>
                </c:pt>
                <c:pt idx="1">
                  <c:v>2.66273</c:v>
                </c:pt>
                <c:pt idx="2">
                  <c:v>1.619265</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Other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4</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7.115426</c:v>
                </c:pt>
                <c:pt idx="1">
                  <c:v>7.352071</c:v>
                </c:pt>
                <c:pt idx="2">
                  <c:v>5.1377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Soft Cheese</c:v>
                </c:pt>
              </c:strCache>
            </c:strRef>
          </c:tx>
          <c:spPr>
            <a:solidFill>
              <a:srgbClr val="00504B"/>
            </a:solidFill>
            <a:ln>
              <a:solidFill>
                <a:schemeClr val="bg1"/>
              </a:solidFill>
            </a:ln>
            <a:effectLst/>
          </c:spPr>
          <c:invertIfNegative val="0"/>
          <c:dLbls>
            <c:dLbl>
              <c:idx val="0"/>
              <c:tx>
                <c:rich>
                  <a:bodyPr/>
                  <a:lstStyle/>
                  <a:p>
                    <a:r>
                      <a:rPr>
                        <a:solidFill>
                          <a:srgbClr val="FFFFFF"/>
                        </a:solidFill>
                      </a:rPr>
                      <a:t>493.9</a:t>
                    </a:r>
                  </a:p>
                </c:rich>
              </c:tx>
              <c:showLegendKey val="0"/>
              <c:showVal val="1"/>
              <c:showCatName val="0"/>
              <c:showSerName val="0"/>
              <c:showPercent val="0"/>
              <c:showBubbleSize val="0"/>
            </c:dLbl>
            <c:dLbl>
              <c:idx val="1"/>
              <c:tx>
                <c:rich>
                  <a:bodyPr/>
                  <a:lstStyle/>
                  <a:p>
                    <a:r>
                      <a:rPr>
                        <a:solidFill>
                          <a:srgbClr val="FFFFFF"/>
                        </a:solidFill>
                      </a:rPr>
                      <a:t>537.6</a:t>
                    </a:r>
                  </a:p>
                </c:rich>
              </c:tx>
              <c:showLegendKey val="0"/>
              <c:showVal val="1"/>
              <c:showCatName val="0"/>
              <c:showSerName val="0"/>
              <c:showPercent val="0"/>
              <c:showBubbleSize val="0"/>
            </c:dLbl>
            <c:dLbl>
              <c:idx val="2"/>
              <c:tx>
                <c:rich>
                  <a:bodyPr/>
                  <a:lstStyle/>
                  <a:p>
                    <a:r>
                      <a:rPr>
                        <a:solidFill>
                          <a:srgbClr val="FFFFFF"/>
                        </a:solidFill>
                      </a:rPr>
                      <a:t>34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93.887773</c:v>
                </c:pt>
                <c:pt idx="1">
                  <c:v>537.563512</c:v>
                </c:pt>
                <c:pt idx="2">
                  <c:v>345.1219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Rape</c:v>
                </c:pt>
              </c:strCache>
            </c:strRef>
          </c:tx>
          <c:spPr>
            <a:solidFill>
              <a:srgbClr val="A6A6A6"/>
            </a:solidFill>
            <a:ln>
              <a:solidFill>
                <a:schemeClr val="bg1"/>
              </a:solidFill>
            </a:ln>
            <a:effectLst/>
          </c:spPr>
          <c:invertIfNegative val="0"/>
          <c:dLbls>
            <c:dLbl>
              <c:idx val="0"/>
              <c:tx>
                <c:rich>
                  <a:bodyPr/>
                  <a:lstStyle/>
                  <a:p>
                    <a:r>
                      <a:rPr>
                        <a:solidFill>
                          <a:srgbClr val="FFFFFF"/>
                        </a:solidFill>
                      </a:rPr>
                      <a:t>225.2</a:t>
                    </a:r>
                  </a:p>
                </c:rich>
              </c:tx>
              <c:showLegendKey val="0"/>
              <c:showVal val="1"/>
              <c:showCatName val="0"/>
              <c:showSerName val="0"/>
              <c:showPercent val="0"/>
              <c:showBubbleSize val="0"/>
            </c:dLbl>
            <c:dLbl>
              <c:idx val="1"/>
              <c:tx>
                <c:rich>
                  <a:bodyPr/>
                  <a:lstStyle/>
                  <a:p>
                    <a:r>
                      <a:rPr>
                        <a:solidFill>
                          <a:srgbClr val="FFFFFF"/>
                        </a:solidFill>
                      </a:rPr>
                      <a:t>253.1</a:t>
                    </a:r>
                  </a:p>
                </c:rich>
              </c:tx>
              <c:showLegendKey val="0"/>
              <c:showVal val="1"/>
              <c:showCatName val="0"/>
              <c:showSerName val="0"/>
              <c:showPercent val="0"/>
              <c:showBubbleSize val="0"/>
            </c:dLbl>
            <c:dLbl>
              <c:idx val="2"/>
              <c:tx>
                <c:rich>
                  <a:bodyPr/>
                  <a:lstStyle/>
                  <a:p>
                    <a:r>
                      <a:rPr>
                        <a:solidFill>
                          <a:srgbClr val="FFFFFF"/>
                        </a:solidFill>
                      </a:rPr>
                      <a:t>14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5.1582</c:v>
                </c:pt>
                <c:pt idx="1">
                  <c:v>253.055643</c:v>
                </c:pt>
                <c:pt idx="2">
                  <c:v>149.54196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30.3</a:t>
                    </a:r>
                  </a:p>
                </c:rich>
              </c:tx>
              <c:showLegendKey val="0"/>
              <c:showVal val="1"/>
              <c:showCatName val="0"/>
              <c:showSerName val="0"/>
              <c:showPercent val="0"/>
              <c:showBubbleSize val="0"/>
            </c:dLbl>
            <c:dLbl>
              <c:idx val="1"/>
              <c:tx>
                <c:rich>
                  <a:bodyPr/>
                  <a:lstStyle/>
                  <a:p>
                    <a:r>
                      <a:rPr>
                        <a:solidFill>
                          <a:srgbClr val="FFFFFF"/>
                        </a:solidFill>
                      </a:rPr>
                      <a:t>140.9</a:t>
                    </a:r>
                  </a:p>
                </c:rich>
              </c:tx>
              <c:showLegendKey val="0"/>
              <c:showVal val="1"/>
              <c:showCatName val="0"/>
              <c:showSerName val="0"/>
              <c:showPercent val="0"/>
              <c:showBubbleSize val="0"/>
            </c:dLbl>
            <c:dLbl>
              <c:idx val="2"/>
              <c:tx>
                <c:rich>
                  <a:bodyPr/>
                  <a:lstStyle/>
                  <a:p>
                    <a:r>
                      <a:rPr>
                        <a:solidFill>
                          <a:srgbClr val="FFFFFF"/>
                        </a:solidFill>
                      </a:rPr>
                      <a:t>8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0.34989</c:v>
                </c:pt>
                <c:pt idx="1">
                  <c:v>140.908841</c:v>
                </c:pt>
                <c:pt idx="2">
                  <c:v>88.7855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a:solidFill>
                          <a:srgbClr val="FFFFFF"/>
                        </a:solidFill>
                      </a:rPr>
                      <a:t>106.9</a:t>
                    </a:r>
                  </a:p>
                </c:rich>
              </c:tx>
              <c:showLegendKey val="0"/>
              <c:showVal val="1"/>
              <c:showCatName val="0"/>
              <c:showSerName val="0"/>
              <c:showPercent val="0"/>
              <c:showBubbleSize val="0"/>
            </c:dLbl>
            <c:dLbl>
              <c:idx val="1"/>
              <c:tx>
                <c:rich>
                  <a:bodyPr/>
                  <a:lstStyle/>
                  <a:p>
                    <a:r>
                      <a:rPr>
                        <a:solidFill>
                          <a:srgbClr val="FFFFFF"/>
                        </a:solidFill>
                      </a:rPr>
                      <a:t>116.4</a:t>
                    </a:r>
                  </a:p>
                </c:rich>
              </c:tx>
              <c:showLegendKey val="0"/>
              <c:showVal val="1"/>
              <c:showCatName val="0"/>
              <c:showSerName val="0"/>
              <c:showPercent val="0"/>
              <c:showBubbleSize val="0"/>
            </c:dLbl>
            <c:dLbl>
              <c:idx val="2"/>
              <c:tx>
                <c:rich>
                  <a:bodyPr/>
                  <a:lstStyle/>
                  <a:p>
                    <a:r>
                      <a:rPr>
                        <a:solidFill>
                          <a:srgbClr val="FFFFFF"/>
                        </a:solidFill>
                      </a:rPr>
                      <a:t>6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6.889377</c:v>
                </c:pt>
                <c:pt idx="1">
                  <c:v>116.447949</c:v>
                </c:pt>
                <c:pt idx="2">
                  <c:v>67.361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79.7</a:t>
                    </a:r>
                  </a:p>
                </c:rich>
              </c:tx>
              <c:showLegendKey val="0"/>
              <c:showVal val="1"/>
              <c:showCatName val="0"/>
              <c:showSerName val="0"/>
              <c:showPercent val="0"/>
              <c:showBubbleSize val="0"/>
            </c:dLbl>
            <c:dLbl>
              <c:idx val="1"/>
              <c:tx>
                <c:rich>
                  <a:bodyPr/>
                  <a:lstStyle/>
                  <a:p>
                    <a:r>
                      <a:rPr>
                        <a:solidFill>
                          <a:srgbClr val="FFFFFF"/>
                        </a:solidFill>
                      </a:rPr>
                      <a:t>87.9</a:t>
                    </a:r>
                  </a:p>
                </c:rich>
              </c:tx>
              <c:showLegendKey val="0"/>
              <c:showVal val="1"/>
              <c:showCatName val="0"/>
              <c:showSerName val="0"/>
              <c:showPercent val="0"/>
              <c:showBubbleSize val="0"/>
            </c:dLbl>
            <c:dLbl>
              <c:idx val="2"/>
              <c:tx>
                <c:rich>
                  <a:bodyPr/>
                  <a:lstStyle/>
                  <a:p>
                    <a:r>
                      <a:rPr>
                        <a:solidFill>
                          <a:srgbClr val="FFFFFF"/>
                        </a:solidFill>
                      </a:rPr>
                      <a:t>3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79.702869</c:v>
                </c:pt>
                <c:pt idx="1">
                  <c:v>87.938789</c:v>
                </c:pt>
                <c:pt idx="2">
                  <c:v>38.4994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53.3</a:t>
                    </a:r>
                  </a:p>
                </c:rich>
              </c:tx>
              <c:showLegendKey val="0"/>
              <c:showVal val="1"/>
              <c:showCatName val="0"/>
              <c:showSerName val="0"/>
              <c:showPercent val="0"/>
              <c:showBubbleSize val="0"/>
            </c:dLbl>
            <c:dLbl>
              <c:idx val="1"/>
              <c:tx>
                <c:rich>
                  <a:bodyPr/>
                  <a:lstStyle/>
                  <a:p>
                    <a:r>
                      <a:rPr>
                        <a:solidFill>
                          <a:srgbClr val="FFFFFF"/>
                        </a:solidFill>
                      </a:rPr>
                      <a:t>58.3</a:t>
                    </a:r>
                  </a:p>
                </c:rich>
              </c:tx>
              <c:showLegendKey val="0"/>
              <c:showVal val="1"/>
              <c:showCatName val="0"/>
              <c:showSerName val="0"/>
              <c:showPercent val="0"/>
              <c:showBubbleSize val="0"/>
            </c:dLbl>
            <c:dLbl>
              <c:idx val="2"/>
              <c:tx>
                <c:rich>
                  <a:bodyPr/>
                  <a:lstStyle/>
                  <a:p>
                    <a:r>
                      <a:rPr>
                        <a:solidFill>
                          <a:srgbClr val="FFFFFF"/>
                        </a:solidFill>
                      </a:rPr>
                      <a:t>3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3.311113</c:v>
                </c:pt>
                <c:pt idx="1">
                  <c:v>58.344648</c:v>
                </c:pt>
                <c:pt idx="2">
                  <c:v>38.30272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50.2</a:t>
                    </a:r>
                  </a:p>
                </c:rich>
              </c:tx>
              <c:showLegendKey val="0"/>
              <c:showVal val="1"/>
              <c:showCatName val="0"/>
              <c:showSerName val="0"/>
              <c:showPercent val="0"/>
              <c:showBubbleSize val="0"/>
            </c:dLbl>
            <c:dLbl>
              <c:idx val="1"/>
              <c:tx>
                <c:rich>
                  <a:bodyPr/>
                  <a:lstStyle/>
                  <a:p>
                    <a:r>
                      <a:rPr>
                        <a:solidFill>
                          <a:srgbClr val="FFFFFF"/>
                        </a:solidFill>
                      </a:rPr>
                      <a:t>51.3</a:t>
                    </a:r>
                  </a:p>
                </c:rich>
              </c:tx>
              <c:showLegendKey val="0"/>
              <c:showVal val="1"/>
              <c:showCatName val="0"/>
              <c:showSerName val="0"/>
              <c:showPercent val="0"/>
              <c:showBubbleSize val="0"/>
            </c:dLbl>
            <c:dLbl>
              <c:idx val="2"/>
              <c:tx>
                <c:rich>
                  <a:bodyPr/>
                  <a:lstStyle/>
                  <a:p>
                    <a:r>
                      <a:rPr>
                        <a:solidFill>
                          <a:srgbClr val="FFFFFF"/>
                        </a:solidFill>
                      </a:rPr>
                      <a:t>3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50.245414</c:v>
                </c:pt>
                <c:pt idx="1">
                  <c:v>51.32189</c:v>
                </c:pt>
                <c:pt idx="2">
                  <c:v>30.909023</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Aperitif</c:v>
                </c:pt>
              </c:strCache>
            </c:strRef>
          </c:tx>
          <c:spPr>
            <a:solidFill>
              <a:srgbClr val="B2DFDC"/>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35.0</a:t>
                    </a:r>
                  </a:p>
                </c:rich>
              </c:tx>
              <c:showLegendKey val="0"/>
              <c:showVal val="1"/>
              <c:showCatName val="0"/>
              <c:showSerName val="0"/>
              <c:showPercent val="0"/>
              <c:showBubbleSize val="0"/>
            </c:dLbl>
            <c:dLbl>
              <c:idx val="2"/>
              <c:tx>
                <c:rich>
                  <a:bodyPr/>
                  <a:lstStyle/>
                  <a:p>
                    <a:r>
                      <a:rPr>
                        <a:solidFill>
                          <a:srgbClr val="FFFFFF"/>
                        </a:solidFill>
                      </a:rPr>
                      <a:t>2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34.761043</c:v>
                </c:pt>
                <c:pt idx="1">
                  <c:v>35.035489</c:v>
                </c:pt>
                <c:pt idx="2">
                  <c:v>21.498093</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Ingredient A Chaud</c:v>
                </c:pt>
              </c:strCache>
            </c:strRef>
          </c:tx>
          <c:spPr>
            <a:solidFill>
              <a:srgbClr val="B2DFDC"/>
            </a:solidFill>
            <a:ln>
              <a:solidFill>
                <a:schemeClr val="bg1"/>
              </a:solidFill>
            </a:ln>
            <a:effectLst/>
          </c:spPr>
          <c:invertIfNegative val="0"/>
          <c:dLbls>
            <c:dLbl>
              <c:idx val="0"/>
              <c:tx>
                <c:rich>
                  <a:bodyPr/>
                  <a:lstStyle/>
                  <a:p>
                    <a:r>
                      <a:rPr>
                        <a:solidFill>
                          <a:srgbClr val="FFFFFF"/>
                        </a:solidFill>
                      </a:rPr>
                      <a:t>30.8</a:t>
                    </a:r>
                  </a:p>
                </c:rich>
              </c:tx>
              <c:showLegendKey val="0"/>
              <c:showVal val="1"/>
              <c:showCatName val="0"/>
              <c:showSerName val="0"/>
              <c:showPercent val="0"/>
              <c:showBubbleSize val="0"/>
            </c:dLbl>
            <c:dLbl>
              <c:idx val="1"/>
              <c:tx>
                <c:rich>
                  <a:bodyPr/>
                  <a:lstStyle/>
                  <a:p>
                    <a:r>
                      <a:rPr>
                        <a:solidFill>
                          <a:srgbClr val="FFFFFF"/>
                        </a:solidFill>
                      </a:rPr>
                      <a:t>34.2</a:t>
                    </a:r>
                  </a:p>
                </c:rich>
              </c:tx>
              <c:showLegendKey val="0"/>
              <c:showVal val="1"/>
              <c:showCatName val="0"/>
              <c:showSerName val="0"/>
              <c:showPercent val="0"/>
              <c:showBubbleSize val="0"/>
            </c:dLbl>
            <c:dLbl>
              <c:idx val="2"/>
              <c:tx>
                <c:rich>
                  <a:bodyPr/>
                  <a:lstStyle/>
                  <a:p>
                    <a:r>
                      <a:rPr>
                        <a:solidFill>
                          <a:srgbClr val="FFFFFF"/>
                        </a:solidFill>
                      </a:rPr>
                      <a:t>2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30.841335</c:v>
                </c:pt>
                <c:pt idx="1">
                  <c:v>34.200263</c:v>
                </c:pt>
                <c:pt idx="2">
                  <c:v>21.00825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18.8</a:t>
                    </a:r>
                  </a:p>
                </c:rich>
              </c:tx>
              <c:showLegendKey val="0"/>
              <c:showVal val="1"/>
              <c:showCatName val="0"/>
              <c:showSerName val="0"/>
              <c:showPercent val="0"/>
              <c:showBubbleSize val="0"/>
            </c:dLbl>
            <c:dLbl>
              <c:idx val="1"/>
              <c:tx>
                <c:rich>
                  <a:bodyPr/>
                  <a:lstStyle/>
                  <a:p>
                    <a:r>
                      <a:rPr>
                        <a:solidFill>
                          <a:srgbClr val="FFFFFF"/>
                        </a:solidFill>
                      </a:rPr>
                      <a:t>20.8</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847108</c:v>
                </c:pt>
                <c:pt idx="1">
                  <c:v>20.846895</c:v>
                </c:pt>
                <c:pt idx="2">
                  <c:v>13.204538</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0.528303</c:v>
                </c:pt>
                <c:pt idx="1">
                  <c:v>1.345928</c:v>
                </c:pt>
                <c:pt idx="2">
                  <c:v>1.075954</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Cheese With Soft Tex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0.0</c:v>
                </c:pt>
                <c:pt idx="1">
                  <c:v>3.5e-05</c:v>
                </c:pt>
                <c:pt idx="2">
                  <c:v>0.009572</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Snack</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0.0</c:v>
                </c:pt>
                <c:pt idx="1">
                  <c:v>0.0</c:v>
                </c:pt>
                <c:pt idx="2">
                  <c:v>0.030515</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Cheese With Hard And Semi-Hard Textur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0.0</c:v>
                </c:pt>
                <c:pt idx="1">
                  <c:v>0.0</c:v>
                </c:pt>
                <c:pt idx="2">
                  <c:v>0.0006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8.4</a:t>
                    </a:r>
                  </a:p>
                </c:rich>
              </c:tx>
              <c:showLegendKey val="0"/>
              <c:showVal val="1"/>
              <c:showCatName val="0"/>
              <c:showSerName val="0"/>
              <c:showPercent val="0"/>
              <c:showBubbleSize val="0"/>
            </c:dLbl>
            <c:dLbl>
              <c:idx val="2"/>
              <c:tx>
                <c:rich>
                  <a:bodyPr/>
                  <a:lstStyle/>
                  <a:p>
                    <a:r>
                      <a:rPr>
                        <a:solidFill>
                          <a:srgbClr val="FFFFFF"/>
                        </a:solidFill>
                      </a:rPr>
                      <a:t>1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0.524255</c:v>
                </c:pt>
                <c:pt idx="1">
                  <c:v>168.400314</c:v>
                </c:pt>
                <c:pt idx="2">
                  <c:v>16.58634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5</a:t>
                    </a:r>
                  </a:p>
                </c:rich>
              </c:tx>
              <c:showLegendKey val="0"/>
              <c:showVal val="1"/>
              <c:showCatName val="0"/>
              <c:showSerName val="0"/>
              <c:showPercent val="0"/>
              <c:showBubbleSize val="0"/>
            </c:dLbl>
            <c:dLbl>
              <c:idx val="2"/>
              <c:tx>
                <c:rich>
                  <a:bodyPr/>
                  <a:lstStyle/>
                  <a:p>
                    <a:r>
                      <a:rPr>
                        <a:solidFill>
                          <a:srgbClr val="FFFFFF"/>
                        </a:solidFill>
                      </a:rPr>
                      <a:t>7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7.122443</c:v>
                </c:pt>
                <c:pt idx="1">
                  <c:v>136.545627</c:v>
                </c:pt>
                <c:pt idx="2">
                  <c:v>76.68892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9</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1.422249</c:v>
                </c:pt>
                <c:pt idx="1">
                  <c:v>82.857273</c:v>
                </c:pt>
                <c:pt idx="2">
                  <c:v>7.962901</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1.0</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1.135872</c:v>
                </c:pt>
                <c:pt idx="1">
                  <c:v>71.046724</c:v>
                </c:pt>
                <c:pt idx="2">
                  <c:v>6.739944</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6.2</a:t>
                    </a:r>
                  </a:p>
                </c:rich>
              </c:tx>
              <c:showLegendKey val="0"/>
              <c:showVal val="1"/>
              <c:showCatName val="0"/>
              <c:showSerName val="0"/>
              <c:showPercent val="0"/>
              <c:showBubbleSize val="0"/>
            </c:dLbl>
            <c:dLbl>
              <c:idx val="2"/>
              <c:tx>
                <c:rich>
                  <a:bodyPr/>
                  <a:lstStyle/>
                  <a:p>
                    <a:r>
                      <a:rPr>
                        <a:solidFill>
                          <a:srgbClr val="FFFFFF"/>
                        </a:solidFill>
                      </a:rPr>
                      <a:t>5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72.130763</c:v>
                </c:pt>
                <c:pt idx="1">
                  <c:v>76.206022</c:v>
                </c:pt>
                <c:pt idx="2">
                  <c:v>54.64757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0</a:t>
                    </a:r>
                  </a:p>
                </c:rich>
              </c:tx>
              <c:showLegendKey val="0"/>
              <c:showVal val="1"/>
              <c:showCatName val="0"/>
              <c:showSerName val="0"/>
              <c:showPercent val="0"/>
              <c:showBubbleSize val="0"/>
            </c:dLbl>
            <c:dLbl>
              <c:idx val="2"/>
              <c:tx>
                <c:rich>
                  <a:bodyPr/>
                  <a:lstStyle/>
                  <a:p>
                    <a:r>
                      <a:rPr>
                        <a:solidFill>
                          <a:srgbClr val="FFFFFF"/>
                        </a:solidFill>
                      </a:rPr>
                      <a:t>3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57.335837</c:v>
                </c:pt>
                <c:pt idx="1">
                  <c:v>59.024621</c:v>
                </c:pt>
                <c:pt idx="2">
                  <c:v>34.10259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6.2</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55.233959</c:v>
                </c:pt>
                <c:pt idx="1">
                  <c:v>56.175207</c:v>
                </c:pt>
                <c:pt idx="2">
                  <c:v>4.80360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6.3</a:t>
                    </a:r>
                  </a:p>
                </c:rich>
              </c:tx>
              <c:showLegendKey val="0"/>
              <c:showVal val="1"/>
              <c:showCatName val="0"/>
              <c:showSerName val="0"/>
              <c:showPercent val="0"/>
              <c:showBubbleSize val="0"/>
            </c:dLbl>
            <c:dLbl>
              <c:idx val="2"/>
              <c:tx>
                <c:rich>
                  <a:bodyPr/>
                  <a:lstStyle/>
                  <a:p>
                    <a:r>
                      <a:rPr>
                        <a:solidFill>
                          <a:srgbClr val="FFFFFF"/>
                        </a:solidFill>
                      </a:rPr>
                      <a:t>3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52.141378</c:v>
                </c:pt>
                <c:pt idx="1">
                  <c:v>56.328619</c:v>
                </c:pt>
                <c:pt idx="2">
                  <c:v>35.361849</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3.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6.5</a:t>
                    </a:r>
                  </a:p>
                </c:rich>
              </c:tx>
              <c:showLegendKey val="0"/>
              <c:showVal val="1"/>
              <c:showCatName val="0"/>
              <c:showSerName val="0"/>
              <c:showPercent val="0"/>
              <c:showBubbleSize val="0"/>
            </c:dLbl>
            <c:dLbl>
              <c:idx val="2"/>
              <c:tx>
                <c:rich>
                  <a:bodyPr/>
                  <a:lstStyle/>
                  <a:p>
                    <a:r>
                      <a:rPr>
                        <a:solidFill>
                          <a:srgbClr val="FFFFFF"/>
                        </a:solidFill>
                      </a:rPr>
                      <a:t>2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43.782465</c:v>
                </c:pt>
                <c:pt idx="1">
                  <c:v>46.472952</c:v>
                </c:pt>
                <c:pt idx="2">
                  <c:v>27.158946</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3.9</a:t>
                    </a:r>
                  </a:p>
                </c:rich>
              </c:tx>
              <c:showLegendKey val="0"/>
              <c:showVal val="1"/>
              <c:showCatName val="0"/>
              <c:showSerName val="0"/>
              <c:showPercent val="0"/>
              <c:showBubbleSize val="0"/>
            </c:dLbl>
            <c:dLbl>
              <c:idx val="2"/>
              <c:tx>
                <c:rich>
                  <a:bodyPr/>
                  <a:lstStyle/>
                  <a:p>
                    <a:r>
                      <a:rPr>
                        <a:solidFill>
                          <a:srgbClr val="FFFFFF"/>
                        </a:solidFill>
                      </a:rPr>
                      <a:t>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1.070009</c:v>
                </c:pt>
                <c:pt idx="1">
                  <c:v>33.860053</c:v>
                </c:pt>
                <c:pt idx="2">
                  <c:v>3.52018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1</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22.713895</c:v>
                </c:pt>
                <c:pt idx="1">
                  <c:v>22.122247</c:v>
                </c:pt>
                <c:pt idx="2">
                  <c:v>2.151865</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6.6</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35.231502</c:v>
                </c:pt>
                <c:pt idx="1">
                  <c:v>36.58948</c:v>
                </c:pt>
                <c:pt idx="2">
                  <c:v>3.172151</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3</a:t>
                    </a:r>
                  </a:p>
                </c:rich>
              </c:tx>
              <c:showLegendKey val="0"/>
              <c:showVal val="1"/>
              <c:showCatName val="0"/>
              <c:showSerName val="0"/>
              <c:showPercent val="0"/>
              <c:showBubbleSize val="0"/>
            </c:dLbl>
            <c:dLbl>
              <c:idx val="2"/>
              <c:tx>
                <c:rich>
                  <a:bodyPr/>
                  <a:lstStyle/>
                  <a:p>
                    <a:r>
                      <a:rPr>
                        <a:solidFill>
                          <a:srgbClr val="FFFFFF"/>
                        </a:solidFill>
                      </a:rPr>
                      <a:t>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0.754341</c:v>
                </c:pt>
                <c:pt idx="1">
                  <c:v>10.314264</c:v>
                </c:pt>
                <c:pt idx="2">
                  <c:v>5.870096</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5</a:t>
                    </a:r>
                  </a:p>
                </c:rich>
              </c:tx>
              <c:showLegendKey val="0"/>
              <c:showVal val="1"/>
              <c:showCatName val="0"/>
              <c:showSerName val="0"/>
              <c:showPercent val="0"/>
              <c:showBubbleSize val="0"/>
            </c:dLbl>
            <c:dLbl>
              <c:idx val="2"/>
              <c:tx>
                <c:rich>
                  <a:bodyPr/>
                  <a:lstStyle/>
                  <a:p>
                    <a:r>
                      <a:rPr>
                        <a:solidFill>
                          <a:srgbClr val="FFFFFF"/>
                        </a:solidFill>
                      </a:rPr>
                      <a:t>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8.475123</c:v>
                </c:pt>
                <c:pt idx="1">
                  <c:v>8.503811</c:v>
                </c:pt>
                <c:pt idx="2">
                  <c:v>4.94675</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8</a:t>
                    </a:r>
                  </a:p>
                </c:rich>
              </c:tx>
              <c:showLegendKey val="0"/>
              <c:showVal val="1"/>
              <c:showCatName val="0"/>
              <c:showSerName val="0"/>
              <c:showPercent val="0"/>
              <c:showBubbleSize val="0"/>
            </c:dLbl>
            <c:dLbl>
              <c:idx val="2"/>
              <c:tx>
                <c:rich>
                  <a:bodyPr/>
                  <a:lstStyle/>
                  <a:p>
                    <a:r>
                      <a:rPr>
                        <a:solidFill>
                          <a:srgbClr val="FFFFFF"/>
                        </a:solidFill>
                      </a:rPr>
                      <a:t>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9.864414</c:v>
                </c:pt>
                <c:pt idx="1">
                  <c:v>20.812313</c:v>
                </c:pt>
                <c:pt idx="2">
                  <c:v>2.072726</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8</a:t>
                    </a:r>
                  </a:p>
                </c:rich>
              </c:tx>
              <c:showLegendKey val="0"/>
              <c:showVal val="1"/>
              <c:showCatName val="0"/>
              <c:showSerName val="0"/>
              <c:showPercent val="0"/>
              <c:showBubbleSize val="0"/>
            </c:dLbl>
            <c:dLbl>
              <c:idx val="2"/>
              <c:tx>
                <c:rich>
                  <a:bodyPr/>
                  <a:lstStyle/>
                  <a:p>
                    <a:r>
                      <a:rPr>
                        <a:solidFill>
                          <a:srgbClr val="FFFFFF"/>
                        </a:solidFill>
                      </a:rPr>
                      <a:t>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632772</c:v>
                </c:pt>
                <c:pt idx="1">
                  <c:v>0.771757</c:v>
                </c:pt>
                <c:pt idx="2">
                  <c:v>0.488299</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9e-06</c:v>
                </c:pt>
                <c:pt idx="2">
                  <c:v>0.009707</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2e-06</c:v>
                </c:pt>
                <c:pt idx="2">
                  <c:v>1.3e-05</c:v>
                </c:pt>
              </c:numCache>
            </c:numRef>
          </c:val>
          <c:extLst>
            <c:ext xmlns:c16="http://schemas.microsoft.com/office/drawing/2014/chart" uri="{C3380CC4-5D6E-409C-BE32-E72D297353CC}">
              <c16:uniqueId val="{00000000-684A-418E-960D-F285AA891C5B}"/>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0.001579</c:v>
                </c:pt>
              </c:numCache>
            </c:numRef>
          </c:val>
          <c:extLst>
            <c:ext xmlns:c16="http://schemas.microsoft.com/office/drawing/2014/chart" uri="{C3380CC4-5D6E-409C-BE32-E72D297353CC}">
              <c16:uniqueId val="{00000000-684A-418E-960D-F285AA891C5B}"/>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0.000198</c:v>
                </c:pt>
              </c:numCache>
            </c:numRef>
          </c:val>
          <c:extLst>
            <c:ext xmlns:c16="http://schemas.microsoft.com/office/drawing/2014/chart" uri="{C3380CC4-5D6E-409C-BE32-E72D297353CC}">
              <c16:uniqueId val="{00000000-684A-418E-960D-F285AA891C5B}"/>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0.000184</c:v>
                </c:pt>
              </c:numCache>
            </c:numRef>
          </c:val>
          <c:extLst>
            <c:ext xmlns:c16="http://schemas.microsoft.com/office/drawing/2014/chart" uri="{C3380CC4-5D6E-409C-BE32-E72D297353CC}">
              <c16:uniqueId val="{00000000-684A-418E-960D-F285AA891C5B}"/>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4.7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a:solidFill>
                          <a:srgbClr val="FFFFFF"/>
                        </a:solidFill>
                      </a:rPr>
                      <a:t>1816.1</a:t>
                    </a:r>
                  </a:p>
                </c:rich>
              </c:tx>
              <c:showLegendKey val="0"/>
              <c:showVal val="1"/>
              <c:showCatName val="0"/>
              <c:showSerName val="0"/>
              <c:showPercent val="0"/>
              <c:showBubbleSize val="0"/>
            </c:dLbl>
            <c:dLbl>
              <c:idx val="1"/>
              <c:tx>
                <c:rich>
                  <a:bodyPr/>
                  <a:lstStyle/>
                  <a:p>
                    <a:r>
                      <a:rPr>
                        <a:solidFill>
                          <a:srgbClr val="FFFFFF"/>
                        </a:solidFill>
                      </a:rPr>
                      <a:t>1889.1</a:t>
                    </a:r>
                  </a:p>
                </c:rich>
              </c:tx>
              <c:showLegendKey val="0"/>
              <c:showVal val="1"/>
              <c:showCatName val="0"/>
              <c:showSerName val="0"/>
              <c:showPercent val="0"/>
              <c:showBubbleSize val="0"/>
            </c:dLbl>
            <c:dLbl>
              <c:idx val="2"/>
              <c:tx>
                <c:rich>
                  <a:bodyPr/>
                  <a:lstStyle/>
                  <a:p>
                    <a:r>
                      <a:rPr>
                        <a:solidFill>
                          <a:srgbClr val="FFFFFF"/>
                        </a:solidFill>
                      </a:rPr>
                      <a:t>17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816.084645</c:v>
                </c:pt>
                <c:pt idx="1">
                  <c:v>1889.139514</c:v>
                </c:pt>
                <c:pt idx="2">
                  <c:v>174.7522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a:solidFill>
                          <a:srgbClr val="FFFFFF"/>
                        </a:solidFill>
                      </a:rPr>
                      <a:t>1188.6</a:t>
                    </a:r>
                  </a:p>
                </c:rich>
              </c:tx>
              <c:showLegendKey val="0"/>
              <c:showVal val="1"/>
              <c:showCatName val="0"/>
              <c:showSerName val="0"/>
              <c:showPercent val="0"/>
              <c:showBubbleSize val="0"/>
            </c:dLbl>
            <c:dLbl>
              <c:idx val="1"/>
              <c:tx>
                <c:rich>
                  <a:bodyPr/>
                  <a:lstStyle/>
                  <a:p>
                    <a:r>
                      <a:rPr>
                        <a:solidFill>
                          <a:srgbClr val="FFFFFF"/>
                        </a:solidFill>
                      </a:rPr>
                      <a:t>1201.7</a:t>
                    </a:r>
                  </a:p>
                </c:rich>
              </c:tx>
              <c:showLegendKey val="0"/>
              <c:showVal val="1"/>
              <c:showCatName val="0"/>
              <c:showSerName val="0"/>
              <c:showPercent val="0"/>
              <c:showBubbleSize val="0"/>
            </c:dLbl>
            <c:dLbl>
              <c:idx val="2"/>
              <c:tx>
                <c:rich>
                  <a:bodyPr/>
                  <a:lstStyle/>
                  <a:p>
                    <a:r>
                      <a:rPr>
                        <a:solidFill>
                          <a:srgbClr val="FFFFFF"/>
                        </a:solidFill>
                      </a:rPr>
                      <a:t>67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188.600529</c:v>
                </c:pt>
                <c:pt idx="1">
                  <c:v>1201.725473</c:v>
                </c:pt>
                <c:pt idx="2">
                  <c:v>676.02159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047.3</a:t>
                    </a:r>
                  </a:p>
                </c:rich>
              </c:tx>
              <c:showLegendKey val="0"/>
              <c:showVal val="1"/>
              <c:showCatName val="0"/>
              <c:showSerName val="0"/>
              <c:showPercent val="0"/>
              <c:showBubbleSize val="0"/>
            </c:dLbl>
            <c:dLbl>
              <c:idx val="1"/>
              <c:tx>
                <c:rich>
                  <a:bodyPr/>
                  <a:lstStyle/>
                  <a:p>
                    <a:r>
                      <a:rPr>
                        <a:solidFill>
                          <a:srgbClr val="FFFFFF"/>
                        </a:solidFill>
                      </a:rPr>
                      <a:t>1061.7</a:t>
                    </a:r>
                  </a:p>
                </c:rich>
              </c:tx>
              <c:showLegendKey val="0"/>
              <c:showVal val="1"/>
              <c:showCatName val="0"/>
              <c:showSerName val="0"/>
              <c:showPercent val="0"/>
              <c:showBubbleSize val="0"/>
            </c:dLbl>
            <c:dLbl>
              <c:idx val="2"/>
              <c:tx>
                <c:rich>
                  <a:bodyPr/>
                  <a:lstStyle/>
                  <a:p>
                    <a:r>
                      <a:rPr>
                        <a:solidFill>
                          <a:srgbClr val="FFFFFF"/>
                        </a:solidFill>
                      </a:rPr>
                      <a:t>10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47.344973</c:v>
                </c:pt>
                <c:pt idx="1">
                  <c:v>1061.738607</c:v>
                </c:pt>
                <c:pt idx="2">
                  <c:v>101.682771</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a:solidFill>
                          <a:srgbClr val="FFFFFF"/>
                        </a:solidFill>
                      </a:rPr>
                      <a:t>903.8</a:t>
                    </a:r>
                  </a:p>
                </c:rich>
              </c:tx>
              <c:showLegendKey val="0"/>
              <c:showVal val="1"/>
              <c:showCatName val="0"/>
              <c:showSerName val="0"/>
              <c:showPercent val="0"/>
              <c:showBubbleSize val="0"/>
            </c:dLbl>
            <c:dLbl>
              <c:idx val="1"/>
              <c:tx>
                <c:rich>
                  <a:bodyPr/>
                  <a:lstStyle/>
                  <a:p>
                    <a:r>
                      <a:rPr>
                        <a:solidFill>
                          <a:srgbClr val="FFFFFF"/>
                        </a:solidFill>
                      </a:rPr>
                      <a:t>917.2</a:t>
                    </a:r>
                  </a:p>
                </c:rich>
              </c:tx>
              <c:showLegendKey val="0"/>
              <c:showVal val="1"/>
              <c:showCatName val="0"/>
              <c:showSerName val="0"/>
              <c:showPercent val="0"/>
              <c:showBubbleSize val="0"/>
            </c:dLbl>
            <c:dLbl>
              <c:idx val="2"/>
              <c:tx>
                <c:rich>
                  <a:bodyPr/>
                  <a:lstStyle/>
                  <a:p>
                    <a:r>
                      <a:rPr>
                        <a:solidFill>
                          <a:srgbClr val="FFFFFF"/>
                        </a:solidFill>
                      </a:rPr>
                      <a:t>8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03.762464</c:v>
                </c:pt>
                <c:pt idx="1">
                  <c:v>917.203549</c:v>
                </c:pt>
                <c:pt idx="2">
                  <c:v>80.378471</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tx>
                <c:rich>
                  <a:bodyPr/>
                  <a:lstStyle/>
                  <a:p>
                    <a:r>
                      <a:rPr>
                        <a:solidFill>
                          <a:srgbClr val="FFFFFF"/>
                        </a:solidFill>
                      </a:rPr>
                      <a:t>860.5</a:t>
                    </a:r>
                  </a:p>
                </c:rich>
              </c:tx>
              <c:showLegendKey val="0"/>
              <c:showVal val="1"/>
              <c:showCatName val="0"/>
              <c:showSerName val="0"/>
              <c:showPercent val="0"/>
              <c:showBubbleSize val="0"/>
            </c:dLbl>
            <c:dLbl>
              <c:idx val="1"/>
              <c:tx>
                <c:rich>
                  <a:bodyPr/>
                  <a:lstStyle/>
                  <a:p>
                    <a:r>
                      <a:rPr>
                        <a:solidFill>
                          <a:srgbClr val="FFFFFF"/>
                        </a:solidFill>
                      </a:rPr>
                      <a:t>923.1</a:t>
                    </a:r>
                  </a:p>
                </c:rich>
              </c:tx>
              <c:showLegendKey val="0"/>
              <c:showVal val="1"/>
              <c:showCatName val="0"/>
              <c:showSerName val="0"/>
              <c:showPercent val="0"/>
              <c:showBubbleSize val="0"/>
            </c:dLbl>
            <c:dLbl>
              <c:idx val="2"/>
              <c:tx>
                <c:rich>
                  <a:bodyPr/>
                  <a:lstStyle/>
                  <a:p>
                    <a:r>
                      <a:rPr>
                        <a:solidFill>
                          <a:srgbClr val="FFFFFF"/>
                        </a:solidFill>
                      </a:rPr>
                      <a:t>68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860.518976</c:v>
                </c:pt>
                <c:pt idx="1">
                  <c:v>923.072591</c:v>
                </c:pt>
                <c:pt idx="2">
                  <c:v>680.5923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a:solidFill>
                          <a:srgbClr val="FFFFFF"/>
                        </a:solidFill>
                      </a:rPr>
                      <a:t>786.2</a:t>
                    </a:r>
                  </a:p>
                </c:rich>
              </c:tx>
              <c:showLegendKey val="0"/>
              <c:showVal val="1"/>
              <c:showCatName val="0"/>
              <c:showSerName val="0"/>
              <c:showPercent val="0"/>
              <c:showBubbleSize val="0"/>
            </c:dLbl>
            <c:dLbl>
              <c:idx val="1"/>
              <c:tx>
                <c:rich>
                  <a:bodyPr/>
                  <a:lstStyle/>
                  <a:p>
                    <a:r>
                      <a:rPr>
                        <a:solidFill>
                          <a:srgbClr val="FFFFFF"/>
                        </a:solidFill>
                      </a:rPr>
                      <a:t>800.8</a:t>
                    </a:r>
                  </a:p>
                </c:rich>
              </c:tx>
              <c:showLegendKey val="0"/>
              <c:showVal val="1"/>
              <c:showCatName val="0"/>
              <c:showSerName val="0"/>
              <c:showPercent val="0"/>
              <c:showBubbleSize val="0"/>
            </c:dLbl>
            <c:dLbl>
              <c:idx val="2"/>
              <c:tx>
                <c:rich>
                  <a:bodyPr/>
                  <a:lstStyle/>
                  <a:p>
                    <a:r>
                      <a:rPr>
                        <a:solidFill>
                          <a:srgbClr val="FFFFFF"/>
                        </a:solidFill>
                      </a:rPr>
                      <a:t>46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786.210715</c:v>
                </c:pt>
                <c:pt idx="1">
                  <c:v>800.842888</c:v>
                </c:pt>
                <c:pt idx="2">
                  <c:v>460.879968</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654.9</a:t>
                    </a:r>
                  </a:p>
                </c:rich>
              </c:tx>
              <c:showLegendKey val="0"/>
              <c:showVal val="1"/>
              <c:showCatName val="0"/>
              <c:showSerName val="0"/>
              <c:showPercent val="0"/>
              <c:showBubbleSize val="0"/>
            </c:dLbl>
            <c:dLbl>
              <c:idx val="1"/>
              <c:tx>
                <c:rich>
                  <a:bodyPr/>
                  <a:lstStyle/>
                  <a:p>
                    <a:r>
                      <a:rPr>
                        <a:solidFill>
                          <a:srgbClr val="FFFFFF"/>
                        </a:solidFill>
                      </a:rPr>
                      <a:t>684.3</a:t>
                    </a:r>
                  </a:p>
                </c:rich>
              </c:tx>
              <c:showLegendKey val="0"/>
              <c:showVal val="1"/>
              <c:showCatName val="0"/>
              <c:showSerName val="0"/>
              <c:showPercent val="0"/>
              <c:showBubbleSize val="0"/>
            </c:dLbl>
            <c:dLbl>
              <c:idx val="2"/>
              <c:tx>
                <c:rich>
                  <a:bodyPr/>
                  <a:lstStyle/>
                  <a:p>
                    <a:r>
                      <a:rPr>
                        <a:solidFill>
                          <a:srgbClr val="FFFFFF"/>
                        </a:solidFill>
                      </a:rPr>
                      <a:t>59.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54.948529</c:v>
                </c:pt>
                <c:pt idx="1">
                  <c:v>684.342188</c:v>
                </c:pt>
                <c:pt idx="2">
                  <c:v>59.773977</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a:solidFill>
                          <a:srgbClr val="FFFFFF"/>
                        </a:solidFill>
                      </a:rPr>
                      <a:t>595.3</a:t>
                    </a:r>
                  </a:p>
                </c:rich>
              </c:tx>
              <c:showLegendKey val="0"/>
              <c:showVal val="1"/>
              <c:showCatName val="0"/>
              <c:showSerName val="0"/>
              <c:showPercent val="0"/>
              <c:showBubbleSize val="0"/>
            </c:dLbl>
            <c:dLbl>
              <c:idx val="1"/>
              <c:tx>
                <c:rich>
                  <a:bodyPr/>
                  <a:lstStyle/>
                  <a:p>
                    <a:r>
                      <a:rPr>
                        <a:solidFill>
                          <a:srgbClr val="FFFFFF"/>
                        </a:solidFill>
                      </a:rPr>
                      <a:t>633.0</a:t>
                    </a:r>
                  </a:p>
                </c:rich>
              </c:tx>
              <c:showLegendKey val="0"/>
              <c:showVal val="1"/>
              <c:showCatName val="0"/>
              <c:showSerName val="0"/>
              <c:showPercent val="0"/>
              <c:showBubbleSize val="0"/>
            </c:dLbl>
            <c:dLbl>
              <c:idx val="2"/>
              <c:tx>
                <c:rich>
                  <a:bodyPr/>
                  <a:lstStyle/>
                  <a:p>
                    <a:r>
                      <a:rPr>
                        <a:solidFill>
                          <a:srgbClr val="FFFFFF"/>
                        </a:solidFill>
                      </a:rPr>
                      <a:t>39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595.311704</c:v>
                </c:pt>
                <c:pt idx="1">
                  <c:v>633.020305</c:v>
                </c:pt>
                <c:pt idx="2">
                  <c:v>392.00147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a:solidFill>
                          <a:srgbClr val="FFFFFF"/>
                        </a:solidFill>
                      </a:rPr>
                      <a:t>510.7</a:t>
                    </a:r>
                  </a:p>
                </c:rich>
              </c:tx>
              <c:showLegendKey val="0"/>
              <c:showVal val="1"/>
              <c:showCatName val="0"/>
              <c:showSerName val="0"/>
              <c:showPercent val="0"/>
              <c:showBubbleSize val="0"/>
            </c:dLbl>
            <c:dLbl>
              <c:idx val="1"/>
              <c:tx>
                <c:rich>
                  <a:bodyPr/>
                  <a:lstStyle/>
                  <a:p>
                    <a:r>
                      <a:rPr>
                        <a:solidFill>
                          <a:srgbClr val="FFFFFF"/>
                        </a:solidFill>
                      </a:rPr>
                      <a:t>538.3</a:t>
                    </a:r>
                  </a:p>
                </c:rich>
              </c:tx>
              <c:showLegendKey val="0"/>
              <c:showVal val="1"/>
              <c:showCatName val="0"/>
              <c:showSerName val="0"/>
              <c:showPercent val="0"/>
              <c:showBubbleSize val="0"/>
            </c:dLbl>
            <c:dLbl>
              <c:idx val="2"/>
              <c:tx>
                <c:rich>
                  <a:bodyPr/>
                  <a:lstStyle/>
                  <a:p>
                    <a:r>
                      <a:rPr>
                        <a:solidFill>
                          <a:srgbClr val="FFFFFF"/>
                        </a:solidFill>
                      </a:rPr>
                      <a:t>319.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10.667647</c:v>
                </c:pt>
                <c:pt idx="1">
                  <c:v>538.255915</c:v>
                </c:pt>
                <c:pt idx="2">
                  <c:v>319.17674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403.1</a:t>
                    </a:r>
                  </a:p>
                </c:rich>
              </c:tx>
              <c:showLegendKey val="0"/>
              <c:showVal val="1"/>
              <c:showCatName val="0"/>
              <c:showSerName val="0"/>
              <c:showPercent val="0"/>
              <c:showBubbleSize val="0"/>
            </c:dLbl>
            <c:dLbl>
              <c:idx val="1"/>
              <c:tx>
                <c:rich>
                  <a:bodyPr/>
                  <a:lstStyle/>
                  <a:p>
                    <a:r>
                      <a:rPr>
                        <a:solidFill>
                          <a:srgbClr val="FFFFFF"/>
                        </a:solidFill>
                      </a:rPr>
                      <a:t>421.7</a:t>
                    </a:r>
                  </a:p>
                </c:rich>
              </c:tx>
              <c:showLegendKey val="0"/>
              <c:showVal val="1"/>
              <c:showCatName val="0"/>
              <c:showSerName val="0"/>
              <c:showPercent val="0"/>
              <c:showBubbleSize val="0"/>
            </c:dLbl>
            <c:dLbl>
              <c:idx val="2"/>
              <c:tx>
                <c:rich>
                  <a:bodyPr/>
                  <a:lstStyle/>
                  <a:p>
                    <a:r>
                      <a:rPr>
                        <a:solidFill>
                          <a:srgbClr val="FFFFFF"/>
                        </a:solidFill>
                      </a:rPr>
                      <a:t>4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403.134736</c:v>
                </c:pt>
                <c:pt idx="1">
                  <c:v>421.715946</c:v>
                </c:pt>
                <c:pt idx="2">
                  <c:v>42.683527</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363.8</a:t>
                    </a:r>
                  </a:p>
                </c:rich>
              </c:tx>
              <c:showLegendKey val="0"/>
              <c:showVal val="1"/>
              <c:showCatName val="0"/>
              <c:showSerName val="0"/>
              <c:showPercent val="0"/>
              <c:showBubbleSize val="0"/>
            </c:dLbl>
            <c:dLbl>
              <c:idx val="1"/>
              <c:tx>
                <c:rich>
                  <a:bodyPr/>
                  <a:lstStyle/>
                  <a:p>
                    <a:r>
                      <a:rPr>
                        <a:solidFill>
                          <a:srgbClr val="FFFFFF"/>
                        </a:solidFill>
                      </a:rPr>
                      <a:t>355.9</a:t>
                    </a:r>
                  </a:p>
                </c:rich>
              </c:tx>
              <c:showLegendKey val="0"/>
              <c:showVal val="1"/>
              <c:showCatName val="0"/>
              <c:showSerName val="0"/>
              <c:showPercent val="0"/>
              <c:showBubbleSize val="0"/>
            </c:dLbl>
            <c:dLbl>
              <c:idx val="2"/>
              <c:tx>
                <c:rich>
                  <a:bodyPr/>
                  <a:lstStyle/>
                  <a:p>
                    <a:r>
                      <a:rPr>
                        <a:solidFill>
                          <a:srgbClr val="FFFFFF"/>
                        </a:solidFill>
                      </a:rPr>
                      <a:t>3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363.792414</c:v>
                </c:pt>
                <c:pt idx="1">
                  <c:v>355.896761</c:v>
                </c:pt>
                <c:pt idx="2">
                  <c:v>35.427765</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272.4</a:t>
                    </a:r>
                  </a:p>
                </c:rich>
              </c:tx>
              <c:showLegendKey val="0"/>
              <c:showVal val="1"/>
              <c:showCatName val="0"/>
              <c:showSerName val="0"/>
              <c:showPercent val="0"/>
              <c:showBubbleSize val="0"/>
            </c:dLbl>
            <c:dLbl>
              <c:idx val="1"/>
              <c:tx>
                <c:rich>
                  <a:bodyPr/>
                  <a:lstStyle/>
                  <a:p>
                    <a:r>
                      <a:rPr>
                        <a:solidFill>
                          <a:srgbClr val="FFFFFF"/>
                        </a:solidFill>
                      </a:rPr>
                      <a:t>281.5</a:t>
                    </a:r>
                  </a:p>
                </c:rich>
              </c:tx>
              <c:showLegendKey val="0"/>
              <c:showVal val="1"/>
              <c:showCatName val="0"/>
              <c:showSerName val="0"/>
              <c:showPercent val="0"/>
              <c:showBubbleSize val="0"/>
            </c:dLbl>
            <c:dLbl>
              <c:idx val="2"/>
              <c:tx>
                <c:rich>
                  <a:bodyPr/>
                  <a:lstStyle/>
                  <a:p>
                    <a:r>
                      <a:rPr>
                        <a:solidFill>
                          <a:srgbClr val="FFFFFF"/>
                        </a:solidFill>
                      </a:rPr>
                      <a:t>2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272.436171</c:v>
                </c:pt>
                <c:pt idx="1">
                  <c:v>281.461743</c:v>
                </c:pt>
                <c:pt idx="2">
                  <c:v>24.515087</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tx>
                <c:rich>
                  <a:bodyPr/>
                  <a:lstStyle/>
                  <a:p>
                    <a:r>
                      <a:rPr>
                        <a:solidFill>
                          <a:srgbClr val="FFFFFF"/>
                        </a:solidFill>
                      </a:rPr>
                      <a:t>209.2</a:t>
                    </a:r>
                  </a:p>
                </c:rich>
              </c:tx>
              <c:showLegendKey val="0"/>
              <c:showVal val="1"/>
              <c:showCatName val="0"/>
              <c:showSerName val="0"/>
              <c:showPercent val="0"/>
              <c:showBubbleSize val="0"/>
            </c:dLbl>
            <c:dLbl>
              <c:idx val="1"/>
              <c:tx>
                <c:rich>
                  <a:bodyPr/>
                  <a:lstStyle/>
                  <a:p>
                    <a:r>
                      <a:rPr>
                        <a:solidFill>
                          <a:srgbClr val="FFFFFF"/>
                        </a:solidFill>
                      </a:rPr>
                      <a:t>201.0</a:t>
                    </a:r>
                  </a:p>
                </c:rich>
              </c:tx>
              <c:showLegendKey val="0"/>
              <c:showVal val="1"/>
              <c:showCatName val="0"/>
              <c:showSerName val="0"/>
              <c:showPercent val="0"/>
              <c:showBubbleSize val="0"/>
            </c:dLbl>
            <c:dLbl>
              <c:idx val="2"/>
              <c:tx>
                <c:rich>
                  <a:bodyPr/>
                  <a:lstStyle/>
                  <a:p>
                    <a:r>
                      <a:rPr>
                        <a:solidFill>
                          <a:srgbClr val="FFFFFF"/>
                        </a:solidFill>
                      </a:rPr>
                      <a:t>115.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209.196476</c:v>
                </c:pt>
                <c:pt idx="1">
                  <c:v>200.999831</c:v>
                </c:pt>
                <c:pt idx="2">
                  <c:v>115.280098</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a:solidFill>
                          <a:srgbClr val="FFFFFF"/>
                        </a:solidFill>
                      </a:rPr>
                      <a:t>161.1</a:t>
                    </a:r>
                  </a:p>
                </c:rich>
              </c:tx>
              <c:showLegendKey val="0"/>
              <c:showVal val="1"/>
              <c:showCatName val="0"/>
              <c:showSerName val="0"/>
              <c:showPercent val="0"/>
              <c:showBubbleSize val="0"/>
            </c:dLbl>
            <c:dLbl>
              <c:idx val="1"/>
              <c:tx>
                <c:rich>
                  <a:bodyPr/>
                  <a:lstStyle/>
                  <a:p>
                    <a:r>
                      <a:rPr>
                        <a:solidFill>
                          <a:srgbClr val="FFFFFF"/>
                        </a:solidFill>
                      </a:rPr>
                      <a:t>161.8</a:t>
                    </a:r>
                  </a:p>
                </c:rich>
              </c:tx>
              <c:showLegendKey val="0"/>
              <c:showVal val="1"/>
              <c:showCatName val="0"/>
              <c:showSerName val="0"/>
              <c:showPercent val="0"/>
              <c:showBubbleSize val="0"/>
            </c:dLbl>
            <c:dLbl>
              <c:idx val="2"/>
              <c:tx>
                <c:rich>
                  <a:bodyPr/>
                  <a:lstStyle/>
                  <a:p>
                    <a:r>
                      <a:rPr>
                        <a:solidFill>
                          <a:srgbClr val="FFFFFF"/>
                        </a:solidFill>
                      </a:rPr>
                      <a:t>9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61.090616</c:v>
                </c:pt>
                <c:pt idx="1">
                  <c:v>161.843497</c:v>
                </c:pt>
                <c:pt idx="2">
                  <c:v>93.994434</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152.4</a:t>
                    </a:r>
                  </a:p>
                </c:rich>
              </c:tx>
              <c:showLegendKey val="0"/>
              <c:showVal val="1"/>
              <c:showCatName val="0"/>
              <c:showSerName val="0"/>
              <c:showPercent val="0"/>
              <c:showBubbleSize val="0"/>
            </c:dLbl>
            <c:dLbl>
              <c:idx val="1"/>
              <c:tx>
                <c:rich>
                  <a:bodyPr/>
                  <a:lstStyle/>
                  <a:p>
                    <a:r>
                      <a:rPr>
                        <a:solidFill>
                          <a:srgbClr val="FFFFFF"/>
                        </a:solidFill>
                      </a:rPr>
                      <a:t>157.3</a:t>
                    </a:r>
                  </a:p>
                </c:rich>
              </c:tx>
              <c:showLegendKey val="0"/>
              <c:showVal val="1"/>
              <c:showCatName val="0"/>
              <c:showSerName val="0"/>
              <c:showPercent val="0"/>
              <c:showBubbleSize val="0"/>
            </c:dLbl>
            <c:dLbl>
              <c:idx val="2"/>
              <c:tx>
                <c:rich>
                  <a:bodyPr/>
                  <a:lstStyle/>
                  <a:p>
                    <a:r>
                      <a:rPr>
                        <a:solidFill>
                          <a:srgbClr val="FFFFFF"/>
                        </a:solidFill>
                      </a:rPr>
                      <a:t>1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52.404823</c:v>
                </c:pt>
                <c:pt idx="1">
                  <c:v>157.250019</c:v>
                </c:pt>
                <c:pt idx="2">
                  <c:v>15.608737</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10.5</a:t>
                    </a:r>
                  </a:p>
                </c:rich>
              </c:tx>
              <c:showLegendKey val="0"/>
              <c:showVal val="1"/>
              <c:showCatName val="0"/>
              <c:showSerName val="0"/>
              <c:showPercent val="0"/>
              <c:showBubbleSize val="0"/>
            </c:dLbl>
            <c:dLbl>
              <c:idx val="1"/>
              <c:tx>
                <c:rich>
                  <a:bodyPr/>
                  <a:lstStyle/>
                  <a:p>
                    <a:r>
                      <a:rPr>
                        <a:solidFill>
                          <a:srgbClr val="FFFFFF"/>
                        </a:solidFill>
                      </a:rPr>
                      <a:t>12.8</a:t>
                    </a:r>
                  </a:p>
                </c:rich>
              </c:tx>
              <c:showLegendKey val="0"/>
              <c:showVal val="1"/>
              <c:showCatName val="0"/>
              <c:showSerName val="0"/>
              <c:showPercent val="0"/>
              <c:showBubbleSize val="0"/>
            </c:dLbl>
            <c:dLbl>
              <c:idx val="2"/>
              <c:tx>
                <c:rich>
                  <a:bodyPr/>
                  <a:lstStyle/>
                  <a:p>
                    <a:r>
                      <a:rPr>
                        <a:solidFill>
                          <a:srgbClr val="FFFFFF"/>
                        </a:solidFill>
                      </a:rPr>
                      <a:t>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10.519084</c:v>
                </c:pt>
                <c:pt idx="1">
                  <c:v>12.807896</c:v>
                </c:pt>
                <c:pt idx="2">
                  <c:v>8.038845</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0.000232</c:v>
                </c:pt>
                <c:pt idx="2">
                  <c:v>0.200999</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3.9e-05</c:v>
                </c:pt>
                <c:pt idx="2">
                  <c:v>0.00024</c:v>
                </c:pt>
              </c:numCache>
            </c:numRef>
          </c:val>
          <c:extLst>
            <c:ext xmlns:c16="http://schemas.microsoft.com/office/drawing/2014/chart" uri="{C3380CC4-5D6E-409C-BE32-E72D297353CC}">
              <c16:uniqueId val="{00000000-4220-4928-A565-C068005E7386}"/>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0.030539</c:v>
                </c:pt>
              </c:numCache>
            </c:numRef>
          </c:val>
          <c:extLst>
            <c:ext xmlns:c16="http://schemas.microsoft.com/office/drawing/2014/chart" uri="{C3380CC4-5D6E-409C-BE32-E72D297353CC}">
              <c16:uniqueId val="{00000000-4220-4928-A565-C068005E7386}"/>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0.005068</c:v>
                </c:pt>
              </c:numCache>
            </c:numRef>
          </c:val>
          <c:extLst>
            <c:ext xmlns:c16="http://schemas.microsoft.com/office/drawing/2014/chart" uri="{C3380CC4-5D6E-409C-BE32-E72D297353CC}">
              <c16:uniqueId val="{00000000-4220-4928-A565-C068005E7386}"/>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0.004389</c:v>
                </c:pt>
              </c:numCache>
            </c:numRef>
          </c:val>
          <c:extLst>
            <c:ext xmlns:c16="http://schemas.microsoft.com/office/drawing/2014/chart" uri="{C3380CC4-5D6E-409C-BE32-E72D297353CC}">
              <c16:uniqueId val="{00000000-4220-4928-A565-C068005E7386}"/>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0.00066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816698</c:v>
                </c:pt>
                <c:pt idx="1">
                  <c:v>25.052342</c:v>
                </c:pt>
                <c:pt idx="2">
                  <c:v>0.3921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4</a:t>
                    </a:r>
                  </a:p>
                </c:rich>
              </c:tx>
              <c:showLegendKey val="0"/>
              <c:showVal val="1"/>
              <c:showCatName val="0"/>
              <c:showSerName val="0"/>
              <c:showPercent val="0"/>
              <c:showBubbleSize val="0"/>
            </c:dLbl>
            <c:dLbl>
              <c:idx val="2"/>
              <c:tx>
                <c:rich>
                  <a:bodyPr/>
                  <a:lstStyle/>
                  <a:p>
                    <a:r>
                      <a:rPr>
                        <a:solidFill>
                          <a:srgbClr val="FFFFFF"/>
                        </a:solidFill>
                      </a:rPr>
                      <a:t>1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0.596761</c:v>
                </c:pt>
                <c:pt idx="1">
                  <c:v>20.404665</c:v>
                </c:pt>
                <c:pt idx="2">
                  <c:v>12.0079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6</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665004</c:v>
                </c:pt>
                <c:pt idx="1">
                  <c:v>11.587103</c:v>
                </c:pt>
                <c:pt idx="2">
                  <c:v>0.158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alade</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7</a:t>
                    </a:r>
                  </a:p>
                </c:rich>
              </c:tx>
              <c:showLegendKey val="0"/>
              <c:showVal val="1"/>
              <c:showCatName val="0"/>
              <c:showSerName val="0"/>
              <c:showPercent val="0"/>
              <c:showBubbleSize val="0"/>
            </c:dLbl>
            <c:dLbl>
              <c:idx val="2"/>
              <c:tx>
                <c:rich>
                  <a:bodyPr/>
                  <a:lstStyle/>
                  <a:p>
                    <a:r>
                      <a:rPr>
                        <a:solidFill>
                          <a:srgbClr val="FFFFFF"/>
                        </a:solidFill>
                      </a:rPr>
                      <a:t>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2.484102</c:v>
                </c:pt>
                <c:pt idx="1">
                  <c:v>12.746722</c:v>
                </c:pt>
                <c:pt idx="2">
                  <c:v>9.12721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peciali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4</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0.348773</c:v>
                </c:pt>
                <c:pt idx="1">
                  <c:v>10.367845</c:v>
                </c:pt>
                <c:pt idx="2">
                  <c:v>0.164869</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8.503839</c:v>
                </c:pt>
                <c:pt idx="1">
                  <c:v>8.610507</c:v>
                </c:pt>
                <c:pt idx="2">
                  <c:v>5.13848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6</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8.513183</c:v>
                </c:pt>
                <c:pt idx="1">
                  <c:v>8.620148</c:v>
                </c:pt>
                <c:pt idx="2">
                  <c:v>0.31381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3</a:t>
                    </a:r>
                  </a:p>
                </c:rich>
              </c:tx>
              <c:showLegendKey val="0"/>
              <c:showVal val="1"/>
              <c:showCatName val="0"/>
              <c:showSerName val="0"/>
              <c:showPercent val="0"/>
              <c:showBubbleSize val="0"/>
            </c:dLbl>
            <c:dLbl>
              <c:idx val="2"/>
              <c:tx>
                <c:rich>
                  <a:bodyPr/>
                  <a:lstStyle/>
                  <a:p>
                    <a:r>
                      <a:rPr>
                        <a:solidFill>
                          <a:srgbClr val="FFFFFF"/>
                        </a:solidFill>
                      </a:rPr>
                      <a:t>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734385</c:v>
                </c:pt>
                <c:pt idx="1">
                  <c:v>8.330398</c:v>
                </c:pt>
                <c:pt idx="2">
                  <c:v>5.45562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0</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7.753769</c:v>
                </c:pt>
                <c:pt idx="1">
                  <c:v>7.995345</c:v>
                </c:pt>
                <c:pt idx="2">
                  <c:v>4.84422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5</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81502</c:v>
                </c:pt>
                <c:pt idx="1">
                  <c:v>5.477965</c:v>
                </c:pt>
                <c:pt idx="2">
                  <c:v>0.06625</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3.478069</c:v>
                </c:pt>
                <c:pt idx="1">
                  <c:v>3.434087</c:v>
                </c:pt>
                <c:pt idx="2">
                  <c:v>0.050238</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4.757894</c:v>
                </c:pt>
                <c:pt idx="1">
                  <c:v>4.906471</c:v>
                </c:pt>
                <c:pt idx="2">
                  <c:v>0.07411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1.720917</c:v>
                </c:pt>
                <c:pt idx="1">
                  <c:v>1.681029</c:v>
                </c:pt>
                <c:pt idx="2">
                  <c:v>1.040701</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177465</c:v>
                </c:pt>
                <c:pt idx="1">
                  <c:v>1.196299</c:v>
                </c:pt>
                <c:pt idx="2">
                  <c:v>0.71349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2.939604</c:v>
                </c:pt>
                <c:pt idx="1">
                  <c:v>2.945373</c:v>
                </c:pt>
                <c:pt idx="2">
                  <c:v>0.054907</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2</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140322</c:v>
                </c:pt>
                <c:pt idx="1">
                  <c:v>0.187962</c:v>
                </c:pt>
                <c:pt idx="2">
                  <c:v>0.12696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a:solidFill>
                          <a:srgbClr val="FFFFFF"/>
                        </a:solidFill>
                      </a:rPr>
                      <a:t>294.9</a:t>
                    </a:r>
                  </a:p>
                </c:rich>
              </c:tx>
              <c:showLegendKey val="0"/>
              <c:showVal val="1"/>
              <c:showCatName val="0"/>
              <c:showSerName val="0"/>
              <c:showPercent val="0"/>
              <c:showBubbleSize val="0"/>
            </c:dLbl>
            <c:dLbl>
              <c:idx val="1"/>
              <c:tx>
                <c:rich>
                  <a:bodyPr/>
                  <a:lstStyle/>
                  <a:p>
                    <a:r>
                      <a:rPr>
                        <a:solidFill>
                          <a:srgbClr val="FFFFFF"/>
                        </a:solidFill>
                      </a:rPr>
                      <a:t>295.1</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94.864337</c:v>
                </c:pt>
                <c:pt idx="1">
                  <c:v>295.147142</c:v>
                </c:pt>
                <c:pt idx="2">
                  <c:v>4.50932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a:solidFill>
                          <a:srgbClr val="FFFFFF"/>
                        </a:solidFill>
                      </a:rPr>
                      <a:t>190.7</a:t>
                    </a:r>
                  </a:p>
                </c:rich>
              </c:tx>
              <c:showLegendKey val="0"/>
              <c:showVal val="1"/>
              <c:showCatName val="0"/>
              <c:showSerName val="0"/>
              <c:showPercent val="0"/>
              <c:showBubbleSize val="0"/>
            </c:dLbl>
            <c:dLbl>
              <c:idx val="1"/>
              <c:tx>
                <c:rich>
                  <a:bodyPr/>
                  <a:lstStyle/>
                  <a:p>
                    <a:r>
                      <a:rPr>
                        <a:solidFill>
                          <a:srgbClr val="FFFFFF"/>
                        </a:solidFill>
                      </a:rPr>
                      <a:t>191.4</a:t>
                    </a:r>
                  </a:p>
                </c:rich>
              </c:tx>
              <c:showLegendKey val="0"/>
              <c:showVal val="1"/>
              <c:showCatName val="0"/>
              <c:showSerName val="0"/>
              <c:showPercent val="0"/>
              <c:showBubbleSize val="0"/>
            </c:dLbl>
            <c:dLbl>
              <c:idx val="2"/>
              <c:tx>
                <c:rich>
                  <a:bodyPr/>
                  <a:lstStyle/>
                  <a:p>
                    <a:r>
                      <a:rPr>
                        <a:solidFill>
                          <a:srgbClr val="FFFFFF"/>
                        </a:solidFill>
                      </a:rPr>
                      <a:t>1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90.729345</c:v>
                </c:pt>
                <c:pt idx="1">
                  <c:v>191.388851</c:v>
                </c:pt>
                <c:pt idx="2">
                  <c:v>112.7736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62.6</a:t>
                    </a:r>
                  </a:p>
                </c:rich>
              </c:tx>
              <c:showLegendKey val="0"/>
              <c:showVal val="1"/>
              <c:showCatName val="0"/>
              <c:showSerName val="0"/>
              <c:showPercent val="0"/>
              <c:showBubbleSize val="0"/>
            </c:dLbl>
            <c:dLbl>
              <c:idx val="1"/>
              <c:tx>
                <c:rich>
                  <a:bodyPr/>
                  <a:lstStyle/>
                  <a:p>
                    <a:r>
                      <a:rPr>
                        <a:solidFill>
                          <a:srgbClr val="FFFFFF"/>
                        </a:solidFill>
                      </a:rPr>
                      <a:t>162.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2.630268</c:v>
                </c:pt>
                <c:pt idx="1">
                  <c:v>162.494303</c:v>
                </c:pt>
                <c:pt idx="2">
                  <c:v>2.266353</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alade</c:v>
                </c:pt>
              </c:strCache>
            </c:strRef>
          </c:tx>
          <c:spPr>
            <a:solidFill>
              <a:srgbClr val="7ECAC4"/>
            </a:solidFill>
            <a:ln>
              <a:solidFill>
                <a:schemeClr val="bg1"/>
              </a:solidFill>
            </a:ln>
            <a:effectLst/>
          </c:spPr>
          <c:invertIfNegative val="0"/>
          <c:dLbls>
            <c:dLbl>
              <c:idx val="0"/>
              <c:tx>
                <c:rich>
                  <a:bodyPr/>
                  <a:lstStyle/>
                  <a:p>
                    <a:r>
                      <a:rPr>
                        <a:solidFill>
                          <a:srgbClr val="FFFFFF"/>
                        </a:solidFill>
                      </a:rPr>
                      <a:t>162.5</a:t>
                    </a:r>
                  </a:p>
                </c:rich>
              </c:tx>
              <c:showLegendKey val="0"/>
              <c:showVal val="1"/>
              <c:showCatName val="0"/>
              <c:showSerName val="0"/>
              <c:showPercent val="0"/>
              <c:showBubbleSize val="0"/>
            </c:dLbl>
            <c:dLbl>
              <c:idx val="1"/>
              <c:tx>
                <c:rich>
                  <a:bodyPr/>
                  <a:lstStyle/>
                  <a:p>
                    <a:r>
                      <a:rPr>
                        <a:solidFill>
                          <a:srgbClr val="FFFFFF"/>
                        </a:solidFill>
                      </a:rPr>
                      <a:t>165.8</a:t>
                    </a:r>
                  </a:p>
                </c:rich>
              </c:tx>
              <c:showLegendKey val="0"/>
              <c:showVal val="1"/>
              <c:showCatName val="0"/>
              <c:showSerName val="0"/>
              <c:showPercent val="0"/>
              <c:showBubbleSize val="0"/>
            </c:dLbl>
            <c:dLbl>
              <c:idx val="2"/>
              <c:tx>
                <c:rich>
                  <a:bodyPr/>
                  <a:lstStyle/>
                  <a:p>
                    <a:r>
                      <a:rPr>
                        <a:solidFill>
                          <a:srgbClr val="FFFFFF"/>
                        </a:solidFill>
                      </a:rPr>
                      <a:t>12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62.52653</c:v>
                </c:pt>
                <c:pt idx="1">
                  <c:v>165.844115</c:v>
                </c:pt>
                <c:pt idx="2">
                  <c:v>122.95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pecialite</c:v>
                </c:pt>
              </c:strCache>
            </c:strRef>
          </c:tx>
          <c:spPr>
            <a:solidFill>
              <a:srgbClr val="575555"/>
            </a:solidFill>
            <a:ln>
              <a:solidFill>
                <a:schemeClr val="bg1"/>
              </a:solidFill>
            </a:ln>
            <a:effectLst/>
          </c:spPr>
          <c:invertIfNegative val="0"/>
          <c:dLbls>
            <c:dLbl>
              <c:idx val="0"/>
              <c:tx>
                <c:rich>
                  <a:bodyPr/>
                  <a:lstStyle/>
                  <a:p>
                    <a:r>
                      <a:rPr>
                        <a:solidFill>
                          <a:srgbClr val="FFFFFF"/>
                        </a:solidFill>
                      </a:rPr>
                      <a:t>144.5</a:t>
                    </a:r>
                  </a:p>
                </c:rich>
              </c:tx>
              <c:showLegendKey val="0"/>
              <c:showVal val="1"/>
              <c:showCatName val="0"/>
              <c:showSerName val="0"/>
              <c:showPercent val="0"/>
              <c:showBubbleSize val="0"/>
            </c:dLbl>
            <c:dLbl>
              <c:idx val="1"/>
              <c:tx>
                <c:rich>
                  <a:bodyPr/>
                  <a:lstStyle/>
                  <a:p>
                    <a:r>
                      <a:rPr>
                        <a:solidFill>
                          <a:srgbClr val="FFFFFF"/>
                        </a:solidFill>
                      </a:rPr>
                      <a:t>146.4</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44.518265</c:v>
                </c:pt>
                <c:pt idx="1">
                  <c:v>146.399442</c:v>
                </c:pt>
                <c:pt idx="2">
                  <c:v>2.50682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a:solidFill>
                          <a:srgbClr val="FFFFFF"/>
                        </a:solidFill>
                      </a:rPr>
                      <a:t>128.0</a:t>
                    </a:r>
                  </a:p>
                </c:rich>
              </c:tx>
              <c:showLegendKey val="0"/>
              <c:showVal val="1"/>
              <c:showCatName val="0"/>
              <c:showSerName val="0"/>
              <c:showPercent val="0"/>
              <c:showBubbleSize val="0"/>
            </c:dLbl>
            <c:dLbl>
              <c:idx val="1"/>
              <c:tx>
                <c:rich>
                  <a:bodyPr/>
                  <a:lstStyle/>
                  <a:p>
                    <a:r>
                      <a:rPr>
                        <a:solidFill>
                          <a:srgbClr val="FFFFFF"/>
                        </a:solidFill>
                      </a:rPr>
                      <a:t>129.1</a:t>
                    </a:r>
                  </a:p>
                </c:rich>
              </c:tx>
              <c:showLegendKey val="0"/>
              <c:showVal val="1"/>
              <c:showCatName val="0"/>
              <c:showSerName val="0"/>
              <c:showPercent val="0"/>
              <c:showBubbleSize val="0"/>
            </c:dLbl>
            <c:dLbl>
              <c:idx val="2"/>
              <c:tx>
                <c:rich>
                  <a:bodyPr/>
                  <a:lstStyle/>
                  <a:p>
                    <a:r>
                      <a:rPr>
                        <a:solidFill>
                          <a:srgbClr val="FFFFFF"/>
                        </a:solidFill>
                      </a:rPr>
                      <a:t>7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8.045397</c:v>
                </c:pt>
                <c:pt idx="1">
                  <c:v>129.067247</c:v>
                </c:pt>
                <c:pt idx="2">
                  <c:v>76.2801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108.4</a:t>
                    </a:r>
                  </a:p>
                </c:rich>
              </c:tx>
              <c:showLegendKey val="0"/>
              <c:showVal val="1"/>
              <c:showCatName val="0"/>
              <c:showSerName val="0"/>
              <c:showPercent val="0"/>
              <c:showBubbleSize val="0"/>
            </c:dLbl>
            <c:dLbl>
              <c:idx val="1"/>
              <c:tx>
                <c:rich>
                  <a:bodyPr/>
                  <a:lstStyle/>
                  <a:p>
                    <a:r>
                      <a:rPr>
                        <a:solidFill>
                          <a:srgbClr val="FFFFFF"/>
                        </a:solidFill>
                      </a:rPr>
                      <a:t>113.1</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08.375273</c:v>
                </c:pt>
                <c:pt idx="1">
                  <c:v>113.080842</c:v>
                </c:pt>
                <c:pt idx="2">
                  <c:v>4.162256</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a:solidFill>
                          <a:srgbClr val="FFFFFF"/>
                        </a:solidFill>
                      </a:rPr>
                      <a:t>98.1</a:t>
                    </a:r>
                  </a:p>
                </c:rich>
              </c:tx>
              <c:showLegendKey val="0"/>
              <c:showVal val="1"/>
              <c:showCatName val="0"/>
              <c:showSerName val="0"/>
              <c:showPercent val="0"/>
              <c:showBubbleSize val="0"/>
            </c:dLbl>
            <c:dLbl>
              <c:idx val="1"/>
              <c:tx>
                <c:rich>
                  <a:bodyPr/>
                  <a:lstStyle/>
                  <a:p>
                    <a:r>
                      <a:rPr>
                        <a:solidFill>
                          <a:srgbClr val="FFFFFF"/>
                        </a:solidFill>
                      </a:rPr>
                      <a:t>102.6</a:t>
                    </a:r>
                  </a:p>
                </c:rich>
              </c:tx>
              <c:showLegendKey val="0"/>
              <c:showVal val="1"/>
              <c:showCatName val="0"/>
              <c:showSerName val="0"/>
              <c:showPercent val="0"/>
              <c:showBubbleSize val="0"/>
            </c:dLbl>
            <c:dLbl>
              <c:idx val="2"/>
              <c:tx>
                <c:rich>
                  <a:bodyPr/>
                  <a:lstStyle/>
                  <a:p>
                    <a:r>
                      <a:rPr>
                        <a:solidFill>
                          <a:srgbClr val="FFFFFF"/>
                        </a:solidFill>
                      </a:rPr>
                      <a:t>6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98.104624</c:v>
                </c:pt>
                <c:pt idx="1">
                  <c:v>102.587294</c:v>
                </c:pt>
                <c:pt idx="2">
                  <c:v>65.91163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a:solidFill>
                          <a:srgbClr val="FFFFFF"/>
                        </a:solidFill>
                      </a:rPr>
                      <a:t>91.5</a:t>
                    </a:r>
                  </a:p>
                </c:rich>
              </c:tx>
              <c:showLegendKey val="0"/>
              <c:showVal val="1"/>
              <c:showCatName val="0"/>
              <c:showSerName val="0"/>
              <c:showPercent val="0"/>
              <c:showBubbleSize val="0"/>
            </c:dLbl>
            <c:dLbl>
              <c:idx val="1"/>
              <c:tx>
                <c:rich>
                  <a:bodyPr/>
                  <a:lstStyle/>
                  <a:p>
                    <a:r>
                      <a:rPr>
                        <a:solidFill>
                          <a:srgbClr val="FFFFFF"/>
                        </a:solidFill>
                      </a:rPr>
                      <a:t>94.0</a:t>
                    </a:r>
                  </a:p>
                </c:rich>
              </c:tx>
              <c:showLegendKey val="0"/>
              <c:showVal val="1"/>
              <c:showCatName val="0"/>
              <c:showSerName val="0"/>
              <c:showPercent val="0"/>
              <c:showBubbleSize val="0"/>
            </c:dLbl>
            <c:dLbl>
              <c:idx val="2"/>
              <c:tx>
                <c:rich>
                  <a:bodyPr/>
                  <a:lstStyle/>
                  <a:p>
                    <a:r>
                      <a:rPr>
                        <a:solidFill>
                          <a:srgbClr val="FFFFFF"/>
                        </a:solidFill>
                      </a:rPr>
                      <a:t>57.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91.452484</c:v>
                </c:pt>
                <c:pt idx="1">
                  <c:v>93.953457</c:v>
                </c:pt>
                <c:pt idx="2">
                  <c:v>57.670703</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72.1</a:t>
                    </a:r>
                  </a:p>
                </c:rich>
              </c:tx>
              <c:showLegendKey val="0"/>
              <c:showVal val="1"/>
              <c:showCatName val="0"/>
              <c:showSerName val="0"/>
              <c:showPercent val="0"/>
              <c:showBubbleSize val="0"/>
            </c:dLbl>
            <c:dLbl>
              <c:idx val="1"/>
              <c:tx>
                <c:rich>
                  <a:bodyPr/>
                  <a:lstStyle/>
                  <a:p>
                    <a:r>
                      <a:rPr>
                        <a:solidFill>
                          <a:srgbClr val="FFFFFF"/>
                        </a:solidFill>
                      </a:rPr>
                      <a:t>71.6</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72.102166</c:v>
                </c:pt>
                <c:pt idx="1">
                  <c:v>71.6009</c:v>
                </c:pt>
                <c:pt idx="2">
                  <c:v>0.861678</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59.3</a:t>
                    </a:r>
                  </a:p>
                </c:rich>
              </c:tx>
              <c:showLegendKey val="0"/>
              <c:showVal val="1"/>
              <c:showCatName val="0"/>
              <c:showSerName val="0"/>
              <c:showPercent val="0"/>
              <c:showBubbleSize val="0"/>
            </c:dLbl>
            <c:dLbl>
              <c:idx val="1"/>
              <c:tx>
                <c:rich>
                  <a:bodyPr/>
                  <a:lstStyle/>
                  <a:p>
                    <a:r>
                      <a:rPr>
                        <a:solidFill>
                          <a:srgbClr val="FFFFFF"/>
                        </a:solidFill>
                      </a:rPr>
                      <a:t>58.2</a:t>
                    </a:r>
                  </a:p>
                </c:rich>
              </c:tx>
              <c:showLegendKey val="0"/>
              <c:showVal val="1"/>
              <c:showCatName val="0"/>
              <c:showSerName val="0"/>
              <c:showPercent val="0"/>
              <c:showBubbleSize val="0"/>
            </c:dLbl>
            <c:dLbl>
              <c:idx val="2"/>
              <c:tx>
                <c:rich>
                  <a:bodyPr/>
                  <a:lstStyle/>
                  <a:p>
                    <a:r>
                      <a:rPr>
                        <a:solidFill>
                          <a:srgbClr val="FFFFFF"/>
                        </a:solidFill>
                      </a:rPr>
                      <a:t>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59.266342</c:v>
                </c:pt>
                <c:pt idx="1">
                  <c:v>58.204325</c:v>
                </c:pt>
                <c:pt idx="2">
                  <c:v>0.85873</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39.3</a:t>
                    </a:r>
                  </a:p>
                </c:rich>
              </c:tx>
              <c:showLegendKey val="0"/>
              <c:showVal val="1"/>
              <c:showCatName val="0"/>
              <c:showSerName val="0"/>
              <c:showPercent val="0"/>
              <c:showBubbleSize val="0"/>
            </c:dLbl>
            <c:dLbl>
              <c:idx val="1"/>
              <c:tx>
                <c:rich>
                  <a:bodyPr/>
                  <a:lstStyle/>
                  <a:p>
                    <a:r>
                      <a:rPr>
                        <a:solidFill>
                          <a:srgbClr val="FFFFFF"/>
                        </a:solidFill>
                      </a:rPr>
                      <a:t>39.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39.319524</c:v>
                </c:pt>
                <c:pt idx="1">
                  <c:v>39.818945</c:v>
                </c:pt>
                <c:pt idx="2">
                  <c:v>0.584757</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Aperitif</c:v>
                </c:pt>
              </c:strCache>
            </c:strRef>
          </c:tx>
          <c:spPr>
            <a:solidFill>
              <a:srgbClr val="575555"/>
            </a:solidFill>
            <a:ln>
              <a:solidFill>
                <a:schemeClr val="bg1"/>
              </a:solidFill>
            </a:ln>
            <a:effectLst/>
          </c:spPr>
          <c:invertIfNegative val="0"/>
          <c:dLbls>
            <c:dLbl>
              <c:idx val="0"/>
              <c:tx>
                <c:rich>
                  <a:bodyPr/>
                  <a:lstStyle/>
                  <a:p>
                    <a:r>
                      <a:rPr>
                        <a:solidFill>
                          <a:srgbClr val="FFFFFF"/>
                        </a:solidFill>
                      </a:rPr>
                      <a:t>36.2</a:t>
                    </a:r>
                  </a:p>
                </c:rich>
              </c:tx>
              <c:showLegendKey val="0"/>
              <c:showVal val="1"/>
              <c:showCatName val="0"/>
              <c:showSerName val="0"/>
              <c:showPercent val="0"/>
              <c:showBubbleSize val="0"/>
            </c:dLbl>
            <c:dLbl>
              <c:idx val="1"/>
              <c:tx>
                <c:rich>
                  <a:bodyPr/>
                  <a:lstStyle/>
                  <a:p>
                    <a:r>
                      <a:rPr>
                        <a:solidFill>
                          <a:srgbClr val="FFFFFF"/>
                        </a:solidFill>
                      </a:rPr>
                      <a:t>35.1</a:t>
                    </a:r>
                  </a:p>
                </c:rich>
              </c:tx>
              <c:showLegendKey val="0"/>
              <c:showVal val="1"/>
              <c:showCatName val="0"/>
              <c:showSerName val="0"/>
              <c:showPercent val="0"/>
              <c:showBubbleSize val="0"/>
            </c:dLbl>
            <c:dLbl>
              <c:idx val="2"/>
              <c:tx>
                <c:rich>
                  <a:bodyPr/>
                  <a:lstStyle/>
                  <a:p>
                    <a:r>
                      <a:rPr>
                        <a:solidFill>
                          <a:srgbClr val="FFFFFF"/>
                        </a:solidFill>
                      </a:rPr>
                      <a:t>2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36.198449</c:v>
                </c:pt>
                <c:pt idx="1">
                  <c:v>35.076792</c:v>
                </c:pt>
                <c:pt idx="2">
                  <c:v>21.694452</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a:solidFill>
                          <a:srgbClr val="FFFFFF"/>
                        </a:solidFill>
                      </a:rPr>
                      <a:t>24.7</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24.696554</c:v>
                </c:pt>
                <c:pt idx="1">
                  <c:v>25.148996</c:v>
                </c:pt>
                <c:pt idx="2">
                  <c:v>14.879986</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23.7</a:t>
                    </a:r>
                  </a:p>
                </c:rich>
              </c:tx>
              <c:showLegendKey val="0"/>
              <c:showVal val="1"/>
              <c:showCatName val="0"/>
              <c:showSerName val="0"/>
              <c:showPercent val="0"/>
              <c:showBubbleSize val="0"/>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23.693965</c:v>
                </c:pt>
                <c:pt idx="1">
                  <c:v>23.346696</c:v>
                </c:pt>
                <c:pt idx="2">
                  <c:v>0.423433</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2.5</a:t>
                    </a:r>
                  </a:p>
                </c:rich>
              </c:tx>
              <c:showLegendKey val="0"/>
              <c:showVal val="1"/>
              <c:showCatName val="0"/>
              <c:showSerName val="0"/>
              <c:showPercent val="0"/>
              <c:showBubbleSize val="0"/>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2.491608</c:v>
                </c:pt>
                <c:pt idx="1">
                  <c:v>3.240199</c:v>
                </c:pt>
                <c:pt idx="2">
                  <c:v>2.2072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2</a:t>
                    </a:r>
                  </a:p>
                </c:rich>
              </c:tx>
              <c:showLegendKey val="0"/>
              <c:showVal val="1"/>
              <c:showCatName val="0"/>
              <c:showSerName val="0"/>
              <c:showPercent val="0"/>
              <c:showBubbleSize val="0"/>
            </c:dLbl>
            <c:dLbl>
              <c:idx val="2"/>
              <c:tx>
                <c:rich>
                  <a:bodyPr/>
                  <a:lstStyle/>
                  <a:p>
                    <a:r>
                      <a:rPr>
                        <a:solidFill>
                          <a:srgbClr val="FFFFFF"/>
                        </a:solidFill>
                      </a:rPr>
                      <a:t>1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702758</c:v>
                </c:pt>
                <c:pt idx="1">
                  <c:v>24.226058</c:v>
                </c:pt>
                <c:pt idx="2">
                  <c:v>14.33779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5</a:t>
                    </a:r>
                  </a:p>
                </c:rich>
              </c:tx>
              <c:showLegendKey val="0"/>
              <c:showVal val="1"/>
              <c:showCatName val="0"/>
              <c:showSerName val="0"/>
              <c:showPercent val="0"/>
              <c:showBubbleSize val="0"/>
            </c:dLbl>
            <c:dLbl>
              <c:idx val="2"/>
              <c:tx>
                <c:rich>
                  <a:bodyPr/>
                  <a:lstStyle/>
                  <a:p>
                    <a:r>
                      <a:rPr>
                        <a:solidFill>
                          <a:srgbClr val="FFFFFF"/>
                        </a:solidFill>
                      </a:rPr>
                      <a:t>1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166313</c:v>
                </c:pt>
                <c:pt idx="1">
                  <c:v>17.54286</c:v>
                </c:pt>
                <c:pt idx="2">
                  <c:v>10.2247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3</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411239</c:v>
                </c:pt>
                <c:pt idx="1">
                  <c:v>11.277067</c:v>
                </c:pt>
                <c:pt idx="2">
                  <c:v>6.996432</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1</a:t>
                    </a:r>
                  </a:p>
                </c:rich>
              </c:tx>
              <c:showLegendKey val="0"/>
              <c:showVal val="1"/>
              <c:showCatName val="0"/>
              <c:showSerName val="0"/>
              <c:showPercent val="0"/>
              <c:showBubbleSize val="0"/>
            </c:dLbl>
            <c:dLbl>
              <c:idx val="2"/>
              <c:tx>
                <c:rich>
                  <a:bodyPr/>
                  <a:lstStyle/>
                  <a:p>
                    <a:r>
                      <a:rPr>
                        <a:solidFill>
                          <a:srgbClr val="FFFFFF"/>
                        </a:solidFill>
                      </a:rPr>
                      <a:t>5.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364901</c:v>
                </c:pt>
                <c:pt idx="1">
                  <c:v>10.050947</c:v>
                </c:pt>
                <c:pt idx="2">
                  <c:v>5.803852</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0</a:t>
                    </a:r>
                  </a:p>
                </c:rich>
              </c:tx>
              <c:showLegendKey val="0"/>
              <c:showVal val="1"/>
              <c:showCatName val="0"/>
              <c:showSerName val="0"/>
              <c:showPercent val="0"/>
              <c:showBubbleSize val="0"/>
            </c:dLbl>
            <c:dLbl>
              <c:idx val="2"/>
              <c:tx>
                <c:rich>
                  <a:bodyPr/>
                  <a:lstStyle/>
                  <a:p>
                    <a:r>
                      <a:rPr>
                        <a:solidFill>
                          <a:srgbClr val="FFFFFF"/>
                        </a:solidFill>
                      </a:rPr>
                      <a:t>6.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8.096648</c:v>
                </c:pt>
                <c:pt idx="1">
                  <c:v>9.022009</c:v>
                </c:pt>
                <c:pt idx="2">
                  <c:v>6.661291</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6.917548</c:v>
                </c:pt>
                <c:pt idx="1">
                  <c:v>7.473644</c:v>
                </c:pt>
                <c:pt idx="2">
                  <c:v>4.49729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6.783425</c:v>
                </c:pt>
                <c:pt idx="1">
                  <c:v>7.312541</c:v>
                </c:pt>
                <c:pt idx="2">
                  <c:v>3.14106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5</a:t>
                    </a:r>
                  </a:p>
                </c:rich>
              </c:tx>
              <c:showLegendKey val="0"/>
              <c:showVal val="1"/>
              <c:showCatName val="0"/>
              <c:showSerName val="0"/>
              <c:showPercent val="0"/>
              <c:showBubbleSize val="0"/>
            </c:dLbl>
            <c:dLbl>
              <c:idx val="2"/>
              <c:tx>
                <c:rich>
                  <a:bodyPr/>
                  <a:lstStyle/>
                  <a:p>
                    <a:r>
                      <a:rPr>
                        <a:solidFill>
                          <a:srgbClr val="FFFFFF"/>
                        </a:solidFill>
                      </a:rPr>
                      <a:t>4.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6.645219</c:v>
                </c:pt>
                <c:pt idx="1">
                  <c:v>7.479067</c:v>
                </c:pt>
                <c:pt idx="2">
                  <c:v>4.7817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3.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5.279609</c:v>
                </c:pt>
                <c:pt idx="1">
                  <c:v>5.902373</c:v>
                </c:pt>
                <c:pt idx="2">
                  <c:v>3.57742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7</a:t>
                    </a:r>
                  </a:p>
                </c:rich>
              </c:tx>
              <c:showLegendKey val="0"/>
              <c:showVal val="1"/>
              <c:showCatName val="0"/>
              <c:showSerName val="0"/>
              <c:showPercent val="0"/>
              <c:showBubbleSize val="0"/>
            </c:dLbl>
            <c:dLbl>
              <c:idx val="2"/>
              <c:tx>
                <c:rich>
                  <a:bodyPr/>
                  <a:lstStyle/>
                  <a:p>
                    <a:r>
                      <a:rPr>
                        <a:solidFill>
                          <a:srgbClr val="FFFFFF"/>
                        </a:solidFill>
                      </a:rPr>
                      <a:t>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3.999654</c:v>
                </c:pt>
                <c:pt idx="1">
                  <c:v>4.695731</c:v>
                </c:pt>
                <c:pt idx="2">
                  <c:v>3.162219</c:v>
                </c:pt>
              </c:numCache>
            </c:numRef>
          </c:val>
          <c:extLst>
            <c:ext xmlns:c16="http://schemas.microsoft.com/office/drawing/2014/chart" uri="{C3380CC4-5D6E-409C-BE32-E72D297353CC}">
              <c16:uniqueId val="{00000000-684A-418E-960D-F285AA891C5B}"/>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3.034376</c:v>
                </c:pt>
                <c:pt idx="1">
                  <c:v>3.099454</c:v>
                </c:pt>
                <c:pt idx="2">
                  <c:v>1.872046</c:v>
                </c:pt>
              </c:numCache>
            </c:numRef>
          </c:val>
          <c:extLst>
            <c:ext xmlns:c16="http://schemas.microsoft.com/office/drawing/2014/chart" uri="{C3380CC4-5D6E-409C-BE32-E72D297353CC}">
              <c16:uniqueId val="{00000000-684A-418E-960D-F285AA891C5B}"/>
            </c:ext>
          </c:extLst>
        </c:ser>
        <c:ser>
          <c:idx val="11"/>
          <c:order val="11"/>
          <c:tx>
            <c:strRef>
              <c:f>Sheet1!$M$1</c:f>
              <c:strCache>
                <c:ptCount val="1"/>
                <c:pt idx="0">
                  <c:v>Aperitif</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1.813287</c:v>
                </c:pt>
                <c:pt idx="1">
                  <c:v>1.859865</c:v>
                </c:pt>
                <c:pt idx="2">
                  <c:v>1.076154</c:v>
                </c:pt>
              </c:numCache>
            </c:numRef>
          </c:val>
          <c:extLst>
            <c:ext xmlns:c16="http://schemas.microsoft.com/office/drawing/2014/chart" uri="{C3380CC4-5D6E-409C-BE32-E72D297353CC}">
              <c16:uniqueId val="{00000000-684A-418E-960D-F285AA891C5B}"/>
            </c:ext>
          </c:extLst>
        </c:ser>
        <c:ser>
          <c:idx val="12"/>
          <c:order val="12"/>
          <c:tx>
            <c:strRef>
              <c:f>Sheet1!$N$1</c:f>
              <c:strCache>
                <c:ptCount val="1"/>
                <c:pt idx="0">
                  <c:v>Ingredient A Chau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5</a:t>
                    </a:r>
                  </a:p>
                </c:rich>
              </c:tx>
              <c:showLegendKey val="0"/>
              <c:showVal val="1"/>
              <c:showCatName val="0"/>
              <c:showSerName val="0"/>
              <c:showPercent val="0"/>
              <c:showBubbleSize val="0"/>
            </c:dLbl>
            <c:dLbl>
              <c:idx val="2"/>
              <c:tx>
                <c:rich>
                  <a:bodyPr/>
                  <a:lstStyle/>
                  <a:p>
                    <a:r>
                      <a:rPr>
                        <a:solidFill>
                          <a:srgbClr val="FFFFFF"/>
                        </a:solidFill>
                      </a:rPr>
                      <a:t>2.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4.014886</c:v>
                </c:pt>
                <c:pt idx="1">
                  <c:v>4.49298</c:v>
                </c:pt>
                <c:pt idx="2">
                  <c:v>2.711082</c:v>
                </c:pt>
              </c:numCache>
            </c:numRef>
          </c:val>
          <c:extLst>
            <c:ext xmlns:c16="http://schemas.microsoft.com/office/drawing/2014/chart" uri="{C3380CC4-5D6E-409C-BE32-E72D297353CC}">
              <c16:uniqueId val="{00000000-684A-418E-960D-F285AA891C5B}"/>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012166</c:v>
                </c:pt>
                <c:pt idx="1">
                  <c:v>1.058846</c:v>
                </c:pt>
                <c:pt idx="2">
                  <c:v>0.630086</c:v>
                </c:pt>
              </c:numCache>
            </c:numRef>
          </c:val>
          <c:extLst>
            <c:ext xmlns:c16="http://schemas.microsoft.com/office/drawing/2014/chart" uri="{C3380CC4-5D6E-409C-BE32-E72D297353CC}">
              <c16:uniqueId val="{00000000-684A-418E-960D-F285AA891C5B}"/>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2.490083</c:v>
                </c:pt>
                <c:pt idx="1">
                  <c:v>2.777421</c:v>
                </c:pt>
                <c:pt idx="2">
                  <c:v>1.75746</c:v>
                </c:pt>
              </c:numCache>
            </c:numRef>
          </c:val>
          <c:extLst>
            <c:ext xmlns:c16="http://schemas.microsoft.com/office/drawing/2014/chart" uri="{C3380CC4-5D6E-409C-BE32-E72D297353CC}">
              <c16:uniqueId val="{00000000-684A-418E-960D-F285AA891C5B}"/>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1</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028615</c:v>
                </c:pt>
                <c:pt idx="1">
                  <c:v>0.078389</c:v>
                </c:pt>
                <c:pt idx="2">
                  <c:v>0.06353</c:v>
                </c:pt>
              </c:numCache>
            </c:numRef>
          </c:val>
          <c:extLst>
            <c:ext xmlns:c16="http://schemas.microsoft.com/office/drawing/2014/chart" uri="{C3380CC4-5D6E-409C-BE32-E72D297353CC}">
              <c16:uniqueId val="{00000000-684A-418E-960D-F285AA891C5B}"/>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8e-06</c:v>
                </c:pt>
                <c:pt idx="2">
                  <c:v>0.009656</c:v>
                </c:pt>
              </c:numCache>
            </c:numRef>
          </c:val>
          <c:extLst>
            <c:ext xmlns:c16="http://schemas.microsoft.com/office/drawing/2014/chart" uri="{C3380CC4-5D6E-409C-BE32-E72D297353CC}">
              <c16:uniqueId val="{00000000-684A-418E-960D-F285AA891C5B}"/>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1e-06</c:v>
                </c:pt>
                <c:pt idx="2">
                  <c:v>1.4e-05</c:v>
                </c:pt>
              </c:numCache>
            </c:numRef>
          </c:val>
          <c:extLst>
            <c:ext xmlns:c16="http://schemas.microsoft.com/office/drawing/2014/chart" uri="{C3380CC4-5D6E-409C-BE32-E72D297353CC}">
              <c16:uniqueId val="{00000000-684A-418E-960D-F285AA891C5B}"/>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0.001549</c:v>
                </c:pt>
              </c:numCache>
            </c:numRef>
          </c:val>
          <c:extLst>
            <c:ext xmlns:c16="http://schemas.microsoft.com/office/drawing/2014/chart" uri="{C3380CC4-5D6E-409C-BE32-E72D297353CC}">
              <c16:uniqueId val="{00000000-684A-418E-960D-F285AA891C5B}"/>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0.000181</c:v>
                </c:pt>
              </c:numCache>
            </c:numRef>
          </c:val>
          <c:extLst>
            <c:ext xmlns:c16="http://schemas.microsoft.com/office/drawing/2014/chart" uri="{C3380CC4-5D6E-409C-BE32-E72D297353CC}">
              <c16:uniqueId val="{00000000-684A-418E-960D-F285AA891C5B}"/>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0.000179</c:v>
                </c:pt>
              </c:numCache>
            </c:numRef>
          </c:val>
          <c:extLst>
            <c:ext xmlns:c16="http://schemas.microsoft.com/office/drawing/2014/chart" uri="{C3380CC4-5D6E-409C-BE32-E72D297353CC}">
              <c16:uniqueId val="{00000000-684A-418E-960D-F285AA891C5B}"/>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4.8e-0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Rape</c:v>
                </c:pt>
              </c:strCache>
            </c:strRef>
          </c:tx>
          <c:spPr>
            <a:solidFill>
              <a:srgbClr val="AEABAB"/>
            </a:solidFill>
            <a:ln>
              <a:solidFill>
                <a:schemeClr val="bg1"/>
              </a:solidFill>
            </a:ln>
            <a:effectLst/>
          </c:spPr>
          <c:invertIfNegative val="0"/>
          <c:dLbls>
            <c:dLbl>
              <c:idx val="0"/>
              <c:tx>
                <c:rich>
                  <a:bodyPr/>
                  <a:lstStyle/>
                  <a:p>
                    <a:r>
                      <a:rPr>
                        <a:solidFill>
                          <a:srgbClr val="FFFFFF"/>
                        </a:solidFill>
                      </a:rPr>
                      <a:t>225.2</a:t>
                    </a:r>
                  </a:p>
                </c:rich>
              </c:tx>
              <c:showLegendKey val="0"/>
              <c:showVal val="1"/>
              <c:showCatName val="0"/>
              <c:showSerName val="0"/>
              <c:showPercent val="0"/>
              <c:showBubbleSize val="0"/>
            </c:dLbl>
            <c:dLbl>
              <c:idx val="1"/>
              <c:tx>
                <c:rich>
                  <a:bodyPr/>
                  <a:lstStyle/>
                  <a:p>
                    <a:r>
                      <a:rPr>
                        <a:solidFill>
                          <a:srgbClr val="FFFFFF"/>
                        </a:solidFill>
                      </a:rPr>
                      <a:t>253.1</a:t>
                    </a:r>
                  </a:p>
                </c:rich>
              </c:tx>
              <c:showLegendKey val="0"/>
              <c:showVal val="1"/>
              <c:showCatName val="0"/>
              <c:showSerName val="0"/>
              <c:showPercent val="0"/>
              <c:showBubbleSize val="0"/>
            </c:dLbl>
            <c:dLbl>
              <c:idx val="2"/>
              <c:tx>
                <c:rich>
                  <a:bodyPr/>
                  <a:lstStyle/>
                  <a:p>
                    <a:r>
                      <a:rPr>
                        <a:solidFill>
                          <a:srgbClr val="FFFFFF"/>
                        </a:solidFill>
                      </a:rPr>
                      <a:t>14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25.1582</c:v>
                </c:pt>
                <c:pt idx="1">
                  <c:v>253.055643</c:v>
                </c:pt>
                <c:pt idx="2">
                  <c:v>149.54196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lassique</c:v>
                </c:pt>
              </c:strCache>
            </c:strRef>
          </c:tx>
          <c:spPr>
            <a:solidFill>
              <a:srgbClr val="A6A6A6"/>
            </a:solidFill>
            <a:ln>
              <a:solidFill>
                <a:schemeClr val="bg1"/>
              </a:solidFill>
            </a:ln>
            <a:effectLst/>
          </c:spPr>
          <c:invertIfNegative val="0"/>
          <c:dLbls>
            <c:dLbl>
              <c:idx val="0"/>
              <c:tx>
                <c:rich>
                  <a:bodyPr/>
                  <a:lstStyle/>
                  <a:p>
                    <a:r>
                      <a:rPr>
                        <a:solidFill>
                          <a:srgbClr val="FFFFFF"/>
                        </a:solidFill>
                      </a:rPr>
                      <a:t>149.6</a:t>
                    </a:r>
                  </a:p>
                </c:rich>
              </c:tx>
              <c:showLegendKey val="0"/>
              <c:showVal val="1"/>
              <c:showCatName val="0"/>
              <c:showSerName val="0"/>
              <c:showPercent val="0"/>
              <c:showBubbleSize val="0"/>
            </c:dLbl>
            <c:dLbl>
              <c:idx val="1"/>
              <c:tx>
                <c:rich>
                  <a:bodyPr/>
                  <a:lstStyle/>
                  <a:p>
                    <a:r>
                      <a:rPr>
                        <a:solidFill>
                          <a:srgbClr val="FFFFFF"/>
                        </a:solidFill>
                      </a:rPr>
                      <a:t>157.4</a:t>
                    </a:r>
                  </a:p>
                </c:rich>
              </c:tx>
              <c:showLegendKey val="0"/>
              <c:showVal val="1"/>
              <c:showCatName val="0"/>
              <c:showSerName val="0"/>
              <c:showPercent val="0"/>
              <c:showBubbleSize val="0"/>
            </c:dLbl>
            <c:dLbl>
              <c:idx val="2"/>
              <c:tx>
                <c:rich>
                  <a:bodyPr/>
                  <a:lstStyle/>
                  <a:p>
                    <a:r>
                      <a:rPr>
                        <a:solidFill>
                          <a:srgbClr val="FFFFFF"/>
                        </a:solidFill>
                      </a:rPr>
                      <a:t>9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9.605956</c:v>
                </c:pt>
                <c:pt idx="1">
                  <c:v>157.391686</c:v>
                </c:pt>
                <c:pt idx="2">
                  <c:v>92.5995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Bloc</c:v>
                </c:pt>
              </c:strCache>
            </c:strRef>
          </c:tx>
          <c:spPr>
            <a:solidFill>
              <a:srgbClr val="9B9898"/>
            </a:solidFill>
            <a:ln>
              <a:solidFill>
                <a:schemeClr val="bg1"/>
              </a:solidFill>
            </a:ln>
            <a:effectLst/>
          </c:spPr>
          <c:invertIfNegative val="0"/>
          <c:dLbls>
            <c:dLbl>
              <c:idx val="0"/>
              <c:tx>
                <c:rich>
                  <a:bodyPr/>
                  <a:lstStyle/>
                  <a:p>
                    <a:r>
                      <a:rPr>
                        <a:solidFill>
                          <a:srgbClr val="FFFFFF"/>
                        </a:solidFill>
                      </a:rPr>
                      <a:t>130.3</a:t>
                    </a:r>
                  </a:p>
                </c:rich>
              </c:tx>
              <c:showLegendKey val="0"/>
              <c:showVal val="1"/>
              <c:showCatName val="0"/>
              <c:showSerName val="0"/>
              <c:showPercent val="0"/>
              <c:showBubbleSize val="0"/>
            </c:dLbl>
            <c:dLbl>
              <c:idx val="1"/>
              <c:tx>
                <c:rich>
                  <a:bodyPr/>
                  <a:lstStyle/>
                  <a:p>
                    <a:r>
                      <a:rPr>
                        <a:solidFill>
                          <a:srgbClr val="FFFFFF"/>
                        </a:solidFill>
                      </a:rPr>
                      <a:t>140.9</a:t>
                    </a:r>
                  </a:p>
                </c:rich>
              </c:tx>
              <c:showLegendKey val="0"/>
              <c:showVal val="1"/>
              <c:showCatName val="0"/>
              <c:showSerName val="0"/>
              <c:showPercent val="0"/>
              <c:showBubbleSize val="0"/>
            </c:dLbl>
            <c:dLbl>
              <c:idx val="2"/>
              <c:tx>
                <c:rich>
                  <a:bodyPr/>
                  <a:lstStyle/>
                  <a:p>
                    <a:r>
                      <a:rPr>
                        <a:solidFill>
                          <a:srgbClr val="FFFFFF"/>
                        </a:solidFill>
                      </a:rPr>
                      <a:t>8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0.34989</c:v>
                </c:pt>
                <c:pt idx="1">
                  <c:v>140.908841</c:v>
                </c:pt>
                <c:pt idx="2">
                  <c:v>88.7855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pecialite</c:v>
                </c:pt>
              </c:strCache>
            </c:strRef>
          </c:tx>
          <c:spPr>
            <a:solidFill>
              <a:srgbClr val="7F7F7F"/>
            </a:solidFill>
            <a:ln>
              <a:solidFill>
                <a:schemeClr val="bg1"/>
              </a:solidFill>
            </a:ln>
            <a:effectLst/>
          </c:spPr>
          <c:invertIfNegative val="0"/>
          <c:dLbls>
            <c:dLbl>
              <c:idx val="0"/>
              <c:tx>
                <c:rich>
                  <a:bodyPr/>
                  <a:lstStyle/>
                  <a:p>
                    <a:r>
                      <a:rPr>
                        <a:solidFill>
                          <a:srgbClr val="FFFFFF"/>
                        </a:solidFill>
                      </a:rPr>
                      <a:t>106.9</a:t>
                    </a:r>
                  </a:p>
                </c:rich>
              </c:tx>
              <c:showLegendKey val="0"/>
              <c:showVal val="1"/>
              <c:showCatName val="0"/>
              <c:showSerName val="0"/>
              <c:showPercent val="0"/>
              <c:showBubbleSize val="0"/>
            </c:dLbl>
            <c:dLbl>
              <c:idx val="1"/>
              <c:tx>
                <c:rich>
                  <a:bodyPr/>
                  <a:lstStyle/>
                  <a:p>
                    <a:r>
                      <a:rPr>
                        <a:solidFill>
                          <a:srgbClr val="FFFFFF"/>
                        </a:solidFill>
                      </a:rPr>
                      <a:t>116.4</a:t>
                    </a:r>
                  </a:p>
                </c:rich>
              </c:tx>
              <c:showLegendKey val="0"/>
              <c:showVal val="1"/>
              <c:showCatName val="0"/>
              <c:showSerName val="0"/>
              <c:showPercent val="0"/>
              <c:showBubbleSize val="0"/>
            </c:dLbl>
            <c:dLbl>
              <c:idx val="2"/>
              <c:tx>
                <c:rich>
                  <a:bodyPr/>
                  <a:lstStyle/>
                  <a:p>
                    <a:r>
                      <a:rPr>
                        <a:solidFill>
                          <a:srgbClr val="FFFFFF"/>
                        </a:solidFill>
                      </a:rPr>
                      <a:t>67.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6.889377</c:v>
                </c:pt>
                <c:pt idx="1">
                  <c:v>116.447949</c:v>
                </c:pt>
                <c:pt idx="2">
                  <c:v>67.36195</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alade</c:v>
                </c:pt>
              </c:strCache>
            </c:strRef>
          </c:tx>
          <c:spPr>
            <a:solidFill>
              <a:srgbClr val="99C7C5"/>
            </a:solidFill>
            <a:ln>
              <a:solidFill>
                <a:schemeClr val="bg1"/>
              </a:solidFill>
            </a:ln>
            <a:effectLst/>
          </c:spPr>
          <c:invertIfNegative val="0"/>
          <c:dLbls>
            <c:dLbl>
              <c:idx val="0"/>
              <c:tx>
                <c:rich>
                  <a:bodyPr/>
                  <a:lstStyle/>
                  <a:p>
                    <a:r>
                      <a:rPr>
                        <a:solidFill>
                          <a:srgbClr val="FFFFFF"/>
                        </a:solidFill>
                      </a:rPr>
                      <a:t>91.1</a:t>
                    </a:r>
                  </a:p>
                </c:rich>
              </c:tx>
              <c:showLegendKey val="0"/>
              <c:showVal val="1"/>
              <c:showCatName val="0"/>
              <c:showSerName val="0"/>
              <c:showPercent val="0"/>
              <c:showBubbleSize val="0"/>
            </c:dLbl>
            <c:dLbl>
              <c:idx val="1"/>
              <c:tx>
                <c:rich>
                  <a:bodyPr/>
                  <a:lstStyle/>
                  <a:p>
                    <a:r>
                      <a:rPr>
                        <a:solidFill>
                          <a:srgbClr val="FFFFFF"/>
                        </a:solidFill>
                      </a:rPr>
                      <a:t>103.7</a:t>
                    </a:r>
                  </a:p>
                </c:rich>
              </c:tx>
              <c:showLegendKey val="0"/>
              <c:showVal val="1"/>
              <c:showCatName val="0"/>
              <c:showSerName val="0"/>
              <c:showPercent val="0"/>
              <c:showBubbleSize val="0"/>
            </c:dLbl>
            <c:dLbl>
              <c:idx val="2"/>
              <c:tx>
                <c:rich>
                  <a:bodyPr/>
                  <a:lstStyle/>
                  <a:p>
                    <a:r>
                      <a:rPr>
                        <a:solidFill>
                          <a:srgbClr val="FFFFFF"/>
                        </a:solidFill>
                      </a:rPr>
                      <a:t>8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91.107579</c:v>
                </c:pt>
                <c:pt idx="1">
                  <c:v>103.729326</c:v>
                </c:pt>
                <c:pt idx="2">
                  <c:v>80.625323</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Chevre</c:v>
                </c:pt>
              </c:strCache>
            </c:strRef>
          </c:tx>
          <c:spPr>
            <a:solidFill>
              <a:srgbClr val="575555"/>
            </a:solidFill>
            <a:ln>
              <a:solidFill>
                <a:schemeClr val="bg1"/>
              </a:solidFill>
            </a:ln>
            <a:effectLst/>
          </c:spPr>
          <c:invertIfNegative val="0"/>
          <c:dLbls>
            <c:dLbl>
              <c:idx val="0"/>
              <c:tx>
                <c:rich>
                  <a:bodyPr/>
                  <a:lstStyle/>
                  <a:p>
                    <a:r>
                      <a:rPr>
                        <a:solidFill>
                          <a:srgbClr val="FFFFFF"/>
                        </a:solidFill>
                      </a:rPr>
                      <a:t>90.9</a:t>
                    </a:r>
                  </a:p>
                </c:rich>
              </c:tx>
              <c:showLegendKey val="0"/>
              <c:showVal val="1"/>
              <c:showCatName val="0"/>
              <c:showSerName val="0"/>
              <c:showPercent val="0"/>
              <c:showBubbleSize val="0"/>
            </c:dLbl>
            <c:dLbl>
              <c:idx val="1"/>
              <c:tx>
                <c:rich>
                  <a:bodyPr/>
                  <a:lstStyle/>
                  <a:p>
                    <a:r>
                      <a:rPr>
                        <a:solidFill>
                          <a:srgbClr val="FFFFFF"/>
                        </a:solidFill>
                      </a:rPr>
                      <a:t>96.7</a:t>
                    </a:r>
                  </a:p>
                </c:rich>
              </c:tx>
              <c:showLegendKey val="0"/>
              <c:showVal val="1"/>
              <c:showCatName val="0"/>
              <c:showSerName val="0"/>
              <c:showPercent val="0"/>
              <c:showBubbleSize val="0"/>
            </c:dLbl>
            <c:dLbl>
              <c:idx val="2"/>
              <c:tx>
                <c:rich>
                  <a:bodyPr/>
                  <a:lstStyle/>
                  <a:p>
                    <a:r>
                      <a:rPr>
                        <a:solidFill>
                          <a:srgbClr val="FFFFFF"/>
                        </a:solidFill>
                      </a:rPr>
                      <a:t>57.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90.889451</c:v>
                </c:pt>
                <c:pt idx="1">
                  <c:v>96.701115</c:v>
                </c:pt>
                <c:pt idx="2">
                  <c:v>57.93027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Plat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79.7</a:t>
                    </a:r>
                  </a:p>
                </c:rich>
              </c:tx>
              <c:showLegendKey val="0"/>
              <c:showVal val="1"/>
              <c:showCatName val="0"/>
              <c:showSerName val="0"/>
              <c:showPercent val="0"/>
              <c:showBubbleSize val="0"/>
            </c:dLbl>
            <c:dLbl>
              <c:idx val="1"/>
              <c:tx>
                <c:rich>
                  <a:bodyPr/>
                  <a:lstStyle/>
                  <a:p>
                    <a:r>
                      <a:rPr>
                        <a:solidFill>
                          <a:srgbClr val="FFFFFF"/>
                        </a:solidFill>
                      </a:rPr>
                      <a:t>87.9</a:t>
                    </a:r>
                  </a:p>
                </c:rich>
              </c:tx>
              <c:showLegendKey val="0"/>
              <c:showVal val="1"/>
              <c:showCatName val="0"/>
              <c:showSerName val="0"/>
              <c:showPercent val="0"/>
              <c:showBubbleSize val="0"/>
            </c:dLbl>
            <c:dLbl>
              <c:idx val="2"/>
              <c:tx>
                <c:rich>
                  <a:bodyPr/>
                  <a:lstStyle/>
                  <a:p>
                    <a:r>
                      <a:rPr>
                        <a:solidFill>
                          <a:srgbClr val="FFFFFF"/>
                        </a:solidFill>
                      </a:rPr>
                      <a:t>38.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79.702869</c:v>
                </c:pt>
                <c:pt idx="1">
                  <c:v>87.938789</c:v>
                </c:pt>
                <c:pt idx="2">
                  <c:v>38.49948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Frais A Tartiner</c:v>
                </c:pt>
              </c:strCache>
            </c:strRef>
          </c:tx>
          <c:spPr>
            <a:solidFill>
              <a:srgbClr val="B2DFDC"/>
            </a:solidFill>
            <a:ln>
              <a:solidFill>
                <a:schemeClr val="bg1"/>
              </a:solidFill>
            </a:ln>
            <a:effectLst/>
          </c:spPr>
          <c:invertIfNegative val="0"/>
          <c:dLbls>
            <c:dLbl>
              <c:idx val="0"/>
              <c:tx>
                <c:rich>
                  <a:bodyPr/>
                  <a:lstStyle/>
                  <a:p>
                    <a:r>
                      <a:rPr>
                        <a:solidFill>
                          <a:srgbClr val="FFFFFF"/>
                        </a:solidFill>
                      </a:rPr>
                      <a:t>77.3</a:t>
                    </a:r>
                  </a:p>
                </c:rich>
              </c:tx>
              <c:showLegendKey val="0"/>
              <c:showVal val="1"/>
              <c:showCatName val="0"/>
              <c:showSerName val="0"/>
              <c:showPercent val="0"/>
              <c:showBubbleSize val="0"/>
            </c:dLbl>
            <c:dLbl>
              <c:idx val="1"/>
              <c:tx>
                <c:rich>
                  <a:bodyPr/>
                  <a:lstStyle/>
                  <a:p>
                    <a:r>
                      <a:rPr>
                        <a:solidFill>
                          <a:srgbClr val="FFFFFF"/>
                        </a:solidFill>
                      </a:rPr>
                      <a:t>86.6</a:t>
                    </a:r>
                  </a:p>
                </c:rich>
              </c:tx>
              <c:showLegendKey val="0"/>
              <c:showVal val="1"/>
              <c:showCatName val="0"/>
              <c:showSerName val="0"/>
              <c:showPercent val="0"/>
              <c:showBubbleSize val="0"/>
            </c:dLbl>
            <c:dLbl>
              <c:idx val="2"/>
              <c:tx>
                <c:rich>
                  <a:bodyPr/>
                  <a:lstStyle/>
                  <a:p>
                    <a:r>
                      <a:rPr>
                        <a:solidFill>
                          <a:srgbClr val="FFFFFF"/>
                        </a:solidFill>
                      </a:rPr>
                      <a:t>56.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77.258166</c:v>
                </c:pt>
                <c:pt idx="1">
                  <c:v>86.610615</c:v>
                </c:pt>
                <c:pt idx="2">
                  <c:v>56.3421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Enfant</c:v>
                </c:pt>
              </c:strCache>
            </c:strRef>
          </c:tx>
          <c:spPr>
            <a:solidFill>
              <a:srgbClr val="B2DFDC"/>
            </a:solidFill>
            <a:ln>
              <a:solidFill>
                <a:schemeClr val="bg1"/>
              </a:solidFill>
            </a:ln>
            <a:effectLst/>
          </c:spPr>
          <c:invertIfNegative val="0"/>
          <c:dLbls>
            <c:dLbl>
              <c:idx val="0"/>
              <c:tx>
                <c:rich>
                  <a:bodyPr/>
                  <a:lstStyle/>
                  <a:p>
                    <a:r>
                      <a:rPr>
                        <a:solidFill>
                          <a:srgbClr val="FFFFFF"/>
                        </a:solidFill>
                      </a:rPr>
                      <a:t>65.7</a:t>
                    </a:r>
                  </a:p>
                </c:rich>
              </c:tx>
              <c:showLegendKey val="0"/>
              <c:showVal val="1"/>
              <c:showCatName val="0"/>
              <c:showSerName val="0"/>
              <c:showPercent val="0"/>
              <c:showBubbleSize val="0"/>
            </c:dLbl>
            <c:dLbl>
              <c:idx val="1"/>
              <c:tx>
                <c:rich>
                  <a:bodyPr/>
                  <a:lstStyle/>
                  <a:p>
                    <a:r>
                      <a:rPr>
                        <a:solidFill>
                          <a:srgbClr val="FFFFFF"/>
                        </a:solidFill>
                      </a:rPr>
                      <a:t>73.0</a:t>
                    </a:r>
                  </a:p>
                </c:rich>
              </c:tx>
              <c:showLegendKey val="0"/>
              <c:showVal val="1"/>
              <c:showCatName val="0"/>
              <c:showSerName val="0"/>
              <c:showPercent val="0"/>
              <c:showBubbleSize val="0"/>
            </c:dLbl>
            <c:dLbl>
              <c:idx val="2"/>
              <c:tx>
                <c:rich>
                  <a:bodyPr/>
                  <a:lstStyle/>
                  <a:p>
                    <a:r>
                      <a:rPr>
                        <a:solidFill>
                          <a:srgbClr val="FFFFFF"/>
                        </a:solidFill>
                      </a:rPr>
                      <a:t>45.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65.654569</c:v>
                </c:pt>
                <c:pt idx="1">
                  <c:v>72.953122</c:v>
                </c:pt>
                <c:pt idx="2">
                  <c:v>45.37100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Tranche A Froid</c:v>
                </c:pt>
              </c:strCache>
            </c:strRef>
          </c:tx>
          <c:spPr>
            <a:solidFill>
              <a:srgbClr val="575555"/>
            </a:solidFill>
            <a:ln>
              <a:solidFill>
                <a:schemeClr val="bg1"/>
              </a:solidFill>
            </a:ln>
            <a:effectLst/>
          </c:spPr>
          <c:invertIfNegative val="0"/>
          <c:dLbls>
            <c:dLbl>
              <c:idx val="0"/>
              <c:tx>
                <c:rich>
                  <a:bodyPr/>
                  <a:lstStyle/>
                  <a:p>
                    <a:r>
                      <a:rPr>
                        <a:solidFill>
                          <a:srgbClr val="FFFFFF"/>
                        </a:solidFill>
                      </a:rPr>
                      <a:t>53.3</a:t>
                    </a:r>
                  </a:p>
                </c:rich>
              </c:tx>
              <c:showLegendKey val="0"/>
              <c:showVal val="1"/>
              <c:showCatName val="0"/>
              <c:showSerName val="0"/>
              <c:showPercent val="0"/>
              <c:showBubbleSize val="0"/>
            </c:dLbl>
            <c:dLbl>
              <c:idx val="1"/>
              <c:tx>
                <c:rich>
                  <a:bodyPr/>
                  <a:lstStyle/>
                  <a:p>
                    <a:r>
                      <a:rPr>
                        <a:solidFill>
                          <a:srgbClr val="FFFFFF"/>
                        </a:solidFill>
                      </a:rPr>
                      <a:t>58.3</a:t>
                    </a:r>
                  </a:p>
                </c:rich>
              </c:tx>
              <c:showLegendKey val="0"/>
              <c:showVal val="1"/>
              <c:showCatName val="0"/>
              <c:showSerName val="0"/>
              <c:showPercent val="0"/>
              <c:showBubbleSize val="0"/>
            </c:dLbl>
            <c:dLbl>
              <c:idx val="2"/>
              <c:tx>
                <c:rich>
                  <a:bodyPr/>
                  <a:lstStyle/>
                  <a:p>
                    <a:r>
                      <a:rPr>
                        <a:solidFill>
                          <a:srgbClr val="FFFFFF"/>
                        </a:solidFill>
                      </a:rPr>
                      <a:t>3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53.311113</c:v>
                </c:pt>
                <c:pt idx="1">
                  <c:v>58.344648</c:v>
                </c:pt>
                <c:pt idx="2">
                  <c:v>38.302725</c:v>
                </c:pt>
              </c:numCache>
            </c:numRef>
          </c:val>
          <c:extLst>
            <c:ext xmlns:c16="http://schemas.microsoft.com/office/drawing/2014/chart" uri="{C3380CC4-5D6E-409C-BE32-E72D297353CC}">
              <c16:uniqueId val="{00000000-4220-4928-A565-C068005E7386}"/>
            </c:ext>
          </c:extLst>
        </c:ser>
        <c:ser>
          <c:idx val="10"/>
          <c:order val="10"/>
          <c:tx>
            <c:strRef>
              <c:f>Sheet1!$L$1</c:f>
              <c:strCache>
                <c:ptCount val="1"/>
                <c:pt idx="0">
                  <c:v>Pate Persillee</c:v>
                </c:pt>
              </c:strCache>
            </c:strRef>
          </c:tx>
          <c:spPr>
            <a:solidFill>
              <a:srgbClr val="575555"/>
            </a:solidFill>
            <a:ln>
              <a:solidFill>
                <a:schemeClr val="bg1"/>
              </a:solidFill>
            </a:ln>
            <a:effectLst/>
          </c:spPr>
          <c:invertIfNegative val="0"/>
          <c:dLbls>
            <c:dLbl>
              <c:idx val="0"/>
              <c:tx>
                <c:rich>
                  <a:bodyPr/>
                  <a:lstStyle/>
                  <a:p>
                    <a:r>
                      <a:rPr>
                        <a:solidFill>
                          <a:srgbClr val="FFFFFF"/>
                        </a:solidFill>
                      </a:rPr>
                      <a:t>50.2</a:t>
                    </a:r>
                  </a:p>
                </c:rich>
              </c:tx>
              <c:showLegendKey val="0"/>
              <c:showVal val="1"/>
              <c:showCatName val="0"/>
              <c:showSerName val="0"/>
              <c:showPercent val="0"/>
              <c:showBubbleSize val="0"/>
            </c:dLbl>
            <c:dLbl>
              <c:idx val="1"/>
              <c:tx>
                <c:rich>
                  <a:bodyPr/>
                  <a:lstStyle/>
                  <a:p>
                    <a:r>
                      <a:rPr>
                        <a:solidFill>
                          <a:srgbClr val="FFFFFF"/>
                        </a:solidFill>
                      </a:rPr>
                      <a:t>51.3</a:t>
                    </a:r>
                  </a:p>
                </c:rich>
              </c:tx>
              <c:showLegendKey val="0"/>
              <c:showVal val="1"/>
              <c:showCatName val="0"/>
              <c:showSerName val="0"/>
              <c:showPercent val="0"/>
              <c:showBubbleSize val="0"/>
            </c:dLbl>
            <c:dLbl>
              <c:idx val="2"/>
              <c:tx>
                <c:rich>
                  <a:bodyPr/>
                  <a:lstStyle/>
                  <a:p>
                    <a:r>
                      <a:rPr>
                        <a:solidFill>
                          <a:srgbClr val="FFFFFF"/>
                        </a:solidFill>
                      </a:rPr>
                      <a:t>30.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L$2:$L$4</c:f>
              <c:numCache>
                <c:formatCode>General</c:formatCode>
                <c:ptCount val="3"/>
                <c:pt idx="0">
                  <c:v>50.245414</c:v>
                </c:pt>
                <c:pt idx="1">
                  <c:v>51.32189</c:v>
                </c:pt>
                <c:pt idx="2">
                  <c:v>30.909023</c:v>
                </c:pt>
              </c:numCache>
            </c:numRef>
          </c:val>
          <c:extLst>
            <c:ext xmlns:c16="http://schemas.microsoft.com/office/drawing/2014/chart" uri="{C3380CC4-5D6E-409C-BE32-E72D297353CC}">
              <c16:uniqueId val="{00000000-4220-4928-A565-C068005E7386}"/>
            </c:ext>
          </c:extLst>
        </c:ser>
        <c:ser>
          <c:idx val="11"/>
          <c:order val="11"/>
          <c:tx>
            <c:strRef>
              <c:f>Sheet1!$M$1</c:f>
              <c:strCache>
                <c:ptCount val="1"/>
                <c:pt idx="0">
                  <c:v>Aperitif</c:v>
                </c:pt>
              </c:strCache>
            </c:strRef>
          </c:tx>
          <c:spPr>
            <a:solidFill>
              <a:srgbClr val="575555"/>
            </a:solidFill>
            <a:ln>
              <a:solidFill>
                <a:schemeClr val="bg1"/>
              </a:solidFill>
            </a:ln>
            <a:effectLst/>
          </c:spPr>
          <c:invertIfNegative val="0"/>
          <c:dLbls>
            <c:dLbl>
              <c:idx val="0"/>
              <c:tx>
                <c:rich>
                  <a:bodyPr/>
                  <a:lstStyle/>
                  <a:p>
                    <a:r>
                      <a:rPr>
                        <a:solidFill>
                          <a:srgbClr val="FFFFFF"/>
                        </a:solidFill>
                      </a:rPr>
                      <a:t>34.8</a:t>
                    </a:r>
                  </a:p>
                </c:rich>
              </c:tx>
              <c:showLegendKey val="0"/>
              <c:showVal val="1"/>
              <c:showCatName val="0"/>
              <c:showSerName val="0"/>
              <c:showPercent val="0"/>
              <c:showBubbleSize val="0"/>
            </c:dLbl>
            <c:dLbl>
              <c:idx val="1"/>
              <c:tx>
                <c:rich>
                  <a:bodyPr/>
                  <a:lstStyle/>
                  <a:p>
                    <a:r>
                      <a:rPr>
                        <a:solidFill>
                          <a:srgbClr val="FFFFFF"/>
                        </a:solidFill>
                      </a:rPr>
                      <a:t>35.0</a:t>
                    </a:r>
                  </a:p>
                </c:rich>
              </c:tx>
              <c:showLegendKey val="0"/>
              <c:showVal val="1"/>
              <c:showCatName val="0"/>
              <c:showSerName val="0"/>
              <c:showPercent val="0"/>
              <c:showBubbleSize val="0"/>
            </c:dLbl>
            <c:dLbl>
              <c:idx val="2"/>
              <c:tx>
                <c:rich>
                  <a:bodyPr/>
                  <a:lstStyle/>
                  <a:p>
                    <a:r>
                      <a:rPr>
                        <a:solidFill>
                          <a:srgbClr val="FFFFFF"/>
                        </a:solidFill>
                      </a:rPr>
                      <a:t>2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M$2:$M$4</c:f>
              <c:numCache>
                <c:formatCode>General</c:formatCode>
                <c:ptCount val="3"/>
                <c:pt idx="0">
                  <c:v>34.761043</c:v>
                </c:pt>
                <c:pt idx="1">
                  <c:v>35.035489</c:v>
                </c:pt>
                <c:pt idx="2">
                  <c:v>21.498093</c:v>
                </c:pt>
              </c:numCache>
            </c:numRef>
          </c:val>
          <c:extLst>
            <c:ext xmlns:c16="http://schemas.microsoft.com/office/drawing/2014/chart" uri="{C3380CC4-5D6E-409C-BE32-E72D297353CC}">
              <c16:uniqueId val="{00000000-4220-4928-A565-C068005E7386}"/>
            </c:ext>
          </c:extLst>
        </c:ser>
        <c:ser>
          <c:idx val="12"/>
          <c:order val="12"/>
          <c:tx>
            <c:strRef>
              <c:f>Sheet1!$N$1</c:f>
              <c:strCache>
                <c:ptCount val="1"/>
                <c:pt idx="0">
                  <c:v>Ingredient A Chaud</c:v>
                </c:pt>
              </c:strCache>
            </c:strRef>
          </c:tx>
          <c:spPr>
            <a:solidFill>
              <a:srgbClr val="575555"/>
            </a:solidFill>
            <a:ln>
              <a:solidFill>
                <a:schemeClr val="bg1"/>
              </a:solidFill>
            </a:ln>
            <a:effectLst/>
          </c:spPr>
          <c:invertIfNegative val="0"/>
          <c:dLbls>
            <c:dLbl>
              <c:idx val="0"/>
              <c:tx>
                <c:rich>
                  <a:bodyPr/>
                  <a:lstStyle/>
                  <a:p>
                    <a:r>
                      <a:rPr>
                        <a:solidFill>
                          <a:srgbClr val="FFFFFF"/>
                        </a:solidFill>
                      </a:rPr>
                      <a:t>30.8</a:t>
                    </a:r>
                  </a:p>
                </c:rich>
              </c:tx>
              <c:showLegendKey val="0"/>
              <c:showVal val="1"/>
              <c:showCatName val="0"/>
              <c:showSerName val="0"/>
              <c:showPercent val="0"/>
              <c:showBubbleSize val="0"/>
            </c:dLbl>
            <c:dLbl>
              <c:idx val="1"/>
              <c:tx>
                <c:rich>
                  <a:bodyPr/>
                  <a:lstStyle/>
                  <a:p>
                    <a:r>
                      <a:rPr>
                        <a:solidFill>
                          <a:srgbClr val="FFFFFF"/>
                        </a:solidFill>
                      </a:rPr>
                      <a:t>34.2</a:t>
                    </a:r>
                  </a:p>
                </c:rich>
              </c:tx>
              <c:showLegendKey val="0"/>
              <c:showVal val="1"/>
              <c:showCatName val="0"/>
              <c:showSerName val="0"/>
              <c:showPercent val="0"/>
              <c:showBubbleSize val="0"/>
            </c:dLbl>
            <c:dLbl>
              <c:idx val="2"/>
              <c:tx>
                <c:rich>
                  <a:bodyPr/>
                  <a:lstStyle/>
                  <a:p>
                    <a:r>
                      <a:rPr>
                        <a:solidFill>
                          <a:srgbClr val="FFFFFF"/>
                        </a:solidFill>
                      </a:rPr>
                      <a:t>2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N$2:$N$4</c:f>
              <c:numCache>
                <c:formatCode>General</c:formatCode>
                <c:ptCount val="3"/>
                <c:pt idx="0">
                  <c:v>30.841335</c:v>
                </c:pt>
                <c:pt idx="1">
                  <c:v>34.200263</c:v>
                </c:pt>
                <c:pt idx="2">
                  <c:v>21.008259</c:v>
                </c:pt>
              </c:numCache>
            </c:numRef>
          </c:val>
          <c:extLst>
            <c:ext xmlns:c16="http://schemas.microsoft.com/office/drawing/2014/chart" uri="{C3380CC4-5D6E-409C-BE32-E72D297353CC}">
              <c16:uniqueId val="{00000000-4220-4928-A565-C068005E7386}"/>
            </c:ext>
          </c:extLst>
        </c:ser>
        <c:ser>
          <c:idx val="13"/>
          <c:order val="13"/>
          <c:tx>
            <c:strRef>
              <c:f>Sheet1!$O$1</c:f>
              <c:strCache>
                <c:ptCount val="1"/>
                <c:pt idx="0">
                  <c:v>Brebis</c:v>
                </c:pt>
              </c:strCache>
            </c:strRef>
          </c:tx>
          <c:spPr>
            <a:solidFill>
              <a:srgbClr val="575555"/>
            </a:solidFill>
            <a:ln>
              <a:solidFill>
                <a:schemeClr val="bg1"/>
              </a:solidFill>
            </a:ln>
            <a:effectLst/>
          </c:spPr>
          <c:invertIfNegative val="0"/>
          <c:dLbls>
            <c:dLbl>
              <c:idx val="0"/>
              <c:tx>
                <c:rich>
                  <a:bodyPr/>
                  <a:lstStyle/>
                  <a:p>
                    <a:r>
                      <a:rPr>
                        <a:solidFill>
                          <a:srgbClr val="FFFFFF"/>
                        </a:solidFill>
                      </a:rPr>
                      <a:t>19.4</a:t>
                    </a:r>
                  </a:p>
                </c:rich>
              </c:tx>
              <c:showLegendKey val="0"/>
              <c:showVal val="1"/>
              <c:showCatName val="0"/>
              <c:showSerName val="0"/>
              <c:showPercent val="0"/>
              <c:showBubbleSize val="0"/>
            </c:dLbl>
            <c:dLbl>
              <c:idx val="1"/>
              <c:tx>
                <c:rich>
                  <a:bodyPr/>
                  <a:lstStyle/>
                  <a:p>
                    <a:r>
                      <a:rPr>
                        <a:solidFill>
                          <a:srgbClr val="FFFFFF"/>
                        </a:solidFill>
                      </a:rPr>
                      <a:t>20.2</a:t>
                    </a:r>
                  </a:p>
                </c:rich>
              </c:tx>
              <c:showLegendKey val="0"/>
              <c:showVal val="1"/>
              <c:showCatName val="0"/>
              <c:showSerName val="0"/>
              <c:showPercent val="0"/>
              <c:showBubbleSize val="0"/>
            </c:dLbl>
            <c:dLbl>
              <c:idx val="2"/>
              <c:tx>
                <c:rich>
                  <a:bodyPr/>
                  <a:lstStyle/>
                  <a:p>
                    <a:r>
                      <a:rPr>
                        <a:solidFill>
                          <a:srgbClr val="FFFFFF"/>
                        </a:solidFill>
                      </a:rPr>
                      <a:t>12.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O$2:$O$4</c:f>
              <c:numCache>
                <c:formatCode>General</c:formatCode>
                <c:ptCount val="3"/>
                <c:pt idx="0">
                  <c:v>19.372052</c:v>
                </c:pt>
                <c:pt idx="1">
                  <c:v>20.177416</c:v>
                </c:pt>
                <c:pt idx="2">
                  <c:v>12.052748</c:v>
                </c:pt>
              </c:numCache>
            </c:numRef>
          </c:val>
          <c:extLst>
            <c:ext xmlns:c16="http://schemas.microsoft.com/office/drawing/2014/chart" uri="{C3380CC4-5D6E-409C-BE32-E72D297353CC}">
              <c16:uniqueId val="{00000000-4220-4928-A565-C068005E7386}"/>
            </c:ext>
          </c:extLst>
        </c:ser>
        <c:ser>
          <c:idx val="14"/>
          <c:order val="14"/>
          <c:tx>
            <c:strRef>
              <c:f>Sheet1!$P$1</c:f>
              <c:strCache>
                <c:ptCount val="1"/>
                <c:pt idx="0">
                  <c:v>Dessert</c:v>
                </c:pt>
              </c:strCache>
            </c:strRef>
          </c:tx>
          <c:spPr>
            <a:solidFill>
              <a:srgbClr val="575555"/>
            </a:solidFill>
            <a:ln>
              <a:solidFill>
                <a:schemeClr val="bg1"/>
              </a:solidFill>
            </a:ln>
            <a:effectLst/>
          </c:spPr>
          <c:invertIfNegative val="0"/>
          <c:dLbls>
            <c:dLbl>
              <c:idx val="0"/>
              <c:tx>
                <c:rich>
                  <a:bodyPr/>
                  <a:lstStyle/>
                  <a:p>
                    <a:r>
                      <a:rPr>
                        <a:solidFill>
                          <a:srgbClr val="FFFFFF"/>
                        </a:solidFill>
                      </a:rPr>
                      <a:t>18.8</a:t>
                    </a:r>
                  </a:p>
                </c:rich>
              </c:tx>
              <c:showLegendKey val="0"/>
              <c:showVal val="1"/>
              <c:showCatName val="0"/>
              <c:showSerName val="0"/>
              <c:showPercent val="0"/>
              <c:showBubbleSize val="0"/>
            </c:dLbl>
            <c:dLbl>
              <c:idx val="1"/>
              <c:tx>
                <c:rich>
                  <a:bodyPr/>
                  <a:lstStyle/>
                  <a:p>
                    <a:r>
                      <a:rPr>
                        <a:solidFill>
                          <a:srgbClr val="FFFFFF"/>
                        </a:solidFill>
                      </a:rPr>
                      <a:t>20.8</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P$2:$P$4</c:f>
              <c:numCache>
                <c:formatCode>General</c:formatCode>
                <c:ptCount val="3"/>
                <c:pt idx="0">
                  <c:v>18.847108</c:v>
                </c:pt>
                <c:pt idx="1">
                  <c:v>20.846895</c:v>
                </c:pt>
                <c:pt idx="2">
                  <c:v>13.204538</c:v>
                </c:pt>
              </c:numCache>
            </c:numRef>
          </c:val>
          <c:extLst>
            <c:ext xmlns:c16="http://schemas.microsoft.com/office/drawing/2014/chart" uri="{C3380CC4-5D6E-409C-BE32-E72D297353CC}">
              <c16:uniqueId val="{00000000-4220-4928-A565-C068005E7386}"/>
            </c:ext>
          </c:extLst>
        </c:ser>
        <c:ser>
          <c:idx val="15"/>
          <c:order val="15"/>
          <c:tx>
            <c:strRef>
              <c:f>Sheet1!$Q$1</c:f>
              <c:strCache>
                <c:ptCount val="1"/>
                <c:pt idx="0">
                  <c:v>Alternative Vegetale</c:v>
                </c:pt>
              </c:strCache>
            </c:strRef>
          </c:tx>
          <c:spPr>
            <a:solidFill>
              <a:srgbClr val="575555"/>
            </a:solidFill>
            <a:ln>
              <a:solidFill>
                <a:schemeClr val="bg1"/>
              </a:solidFill>
            </a:ln>
            <a:effectLst/>
          </c:spPr>
          <c:invertIfNegative val="0"/>
          <c:dLbls>
            <c:dLbl>
              <c:idx val="0"/>
              <c:tx>
                <c:rich>
                  <a:bodyPr/>
                  <a:lstStyle/>
                  <a:p>
                    <a:r>
                      <a:rPr>
                        <a:solidFill>
                          <a:srgbClr val="FFFFFF"/>
                        </a:solidFill>
                      </a:rPr>
                      <a:t>0.5</a:t>
                    </a:r>
                  </a:p>
                </c:rich>
              </c:tx>
              <c:showLegendKey val="0"/>
              <c:showVal val="1"/>
              <c:showCatName val="0"/>
              <c:showSerName val="0"/>
              <c:showPercent val="0"/>
              <c:showBubbleSize val="0"/>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Q$2:$Q$4</c:f>
              <c:numCache>
                <c:formatCode>General</c:formatCode>
                <c:ptCount val="3"/>
                <c:pt idx="0">
                  <c:v>0.528303</c:v>
                </c:pt>
                <c:pt idx="1">
                  <c:v>1.345928</c:v>
                </c:pt>
                <c:pt idx="2">
                  <c:v>1.075954</c:v>
                </c:pt>
              </c:numCache>
            </c:numRef>
          </c:val>
          <c:extLst>
            <c:ext xmlns:c16="http://schemas.microsoft.com/office/drawing/2014/chart" uri="{C3380CC4-5D6E-409C-BE32-E72D297353CC}">
              <c16:uniqueId val="{00000000-4220-4928-A565-C068005E7386}"/>
            </c:ext>
          </c:extLst>
        </c:ser>
        <c:ser>
          <c:idx val="16"/>
          <c:order val="16"/>
          <c:tx>
            <c:strRef>
              <c:f>Sheet1!$R$1</c:f>
              <c:strCache>
                <c:ptCount val="1"/>
                <c:pt idx="0">
                  <c:v>Halloumi</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R$2:$R$4</c:f>
              <c:numCache>
                <c:formatCode>General</c:formatCode>
                <c:ptCount val="3"/>
                <c:pt idx="0">
                  <c:v>0.0</c:v>
                </c:pt>
                <c:pt idx="1">
                  <c:v>0.000232</c:v>
                </c:pt>
                <c:pt idx="2">
                  <c:v>0.200844</c:v>
                </c:pt>
              </c:numCache>
            </c:numRef>
          </c:val>
          <c:extLst>
            <c:ext xmlns:c16="http://schemas.microsoft.com/office/drawing/2014/chart" uri="{C3380CC4-5D6E-409C-BE32-E72D297353CC}">
              <c16:uniqueId val="{00000000-4220-4928-A565-C068005E7386}"/>
            </c:ext>
          </c:extLst>
        </c:ser>
        <c:ser>
          <c:idx val="17"/>
          <c:order val="17"/>
          <c:tx>
            <c:strRef>
              <c:f>Sheet1!$S$1</c:f>
              <c:strCache>
                <c:ptCount val="1"/>
                <c:pt idx="0">
                  <c:v>Camembert</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S$2:$S$4</c:f>
              <c:numCache>
                <c:formatCode>General</c:formatCode>
                <c:ptCount val="3"/>
                <c:pt idx="0">
                  <c:v>0.0</c:v>
                </c:pt>
                <c:pt idx="1">
                  <c:v>3.5e-05</c:v>
                </c:pt>
                <c:pt idx="2">
                  <c:v>0.000356</c:v>
                </c:pt>
              </c:numCache>
            </c:numRef>
          </c:val>
          <c:extLst>
            <c:ext xmlns:c16="http://schemas.microsoft.com/office/drawing/2014/chart" uri="{C3380CC4-5D6E-409C-BE32-E72D297353CC}">
              <c16:uniqueId val="{00000000-4220-4928-A565-C068005E7386}"/>
            </c:ext>
          </c:extLst>
        </c:ser>
        <c:ser>
          <c:idx val="18"/>
          <c:order val="18"/>
          <c:tx>
            <c:strRef>
              <c:f>Sheet1!$T$1</c:f>
              <c:strCache>
                <c:ptCount val="1"/>
                <c:pt idx="0">
                  <c:v>Snack</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T$2:$T$4</c:f>
              <c:numCache>
                <c:formatCode>General</c:formatCode>
                <c:ptCount val="3"/>
                <c:pt idx="0">
                  <c:v>0.0</c:v>
                </c:pt>
                <c:pt idx="1">
                  <c:v>0.0</c:v>
                </c:pt>
                <c:pt idx="2">
                  <c:v>0.030515</c:v>
                </c:pt>
              </c:numCache>
            </c:numRef>
          </c:val>
          <c:extLst>
            <c:ext xmlns:c16="http://schemas.microsoft.com/office/drawing/2014/chart" uri="{C3380CC4-5D6E-409C-BE32-E72D297353CC}">
              <c16:uniqueId val="{00000000-4220-4928-A565-C068005E7386}"/>
            </c:ext>
          </c:extLst>
        </c:ser>
        <c:ser>
          <c:idx val="19"/>
          <c:order val="19"/>
          <c:tx>
            <c:strRef>
              <c:f>Sheet1!$U$1</c:f>
              <c:strCache>
                <c:ptCount val="1"/>
                <c:pt idx="0">
                  <c:v>Other Soft-Ripened Rinds</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U$2:$U$4</c:f>
              <c:numCache>
                <c:formatCode>General</c:formatCode>
                <c:ptCount val="3"/>
                <c:pt idx="0">
                  <c:v>0.0</c:v>
                </c:pt>
                <c:pt idx="1">
                  <c:v>0.0</c:v>
                </c:pt>
                <c:pt idx="2">
                  <c:v>0.00483</c:v>
                </c:pt>
              </c:numCache>
            </c:numRef>
          </c:val>
          <c:extLst>
            <c:ext xmlns:c16="http://schemas.microsoft.com/office/drawing/2014/chart" uri="{C3380CC4-5D6E-409C-BE32-E72D297353CC}">
              <c16:uniqueId val="{00000000-4220-4928-A565-C068005E7386}"/>
            </c:ext>
          </c:extLst>
        </c:ser>
        <c:ser>
          <c:idx val="20"/>
          <c:order val="20"/>
          <c:tx>
            <c:strRef>
              <c:f>Sheet1!$V$1</c:f>
              <c:strCache>
                <c:ptCount val="1"/>
                <c:pt idx="0">
                  <c:v>Washed-Rind</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V$2:$V$4</c:f>
              <c:numCache>
                <c:formatCode>General</c:formatCode>
                <c:ptCount val="3"/>
                <c:pt idx="0">
                  <c:v>0.0</c:v>
                </c:pt>
                <c:pt idx="1">
                  <c:v>0.0</c:v>
                </c:pt>
                <c:pt idx="2">
                  <c:v>0.004386</c:v>
                </c:pt>
              </c:numCache>
            </c:numRef>
          </c:val>
          <c:extLst>
            <c:ext xmlns:c16="http://schemas.microsoft.com/office/drawing/2014/chart" uri="{C3380CC4-5D6E-409C-BE32-E72D297353CC}">
              <c16:uniqueId val="{00000000-4220-4928-A565-C068005E7386}"/>
            </c:ext>
          </c:extLst>
        </c:ser>
        <c:ser>
          <c:idx val="21"/>
          <c:order val="21"/>
          <c:tx>
            <c:strRef>
              <c:f>Sheet1!$W$1</c:f>
              <c:strCache>
                <c:ptCount val="1"/>
                <c:pt idx="0">
                  <c:v>Comte</c:v>
                </c:pt>
              </c:strCache>
            </c:strRef>
          </c:tx>
          <c:spPr>
            <a:solidFill>
              <a:srgbClr val="575555"/>
            </a:solidFill>
            <a:ln>
              <a:solidFill>
                <a:schemeClr val="bg1"/>
              </a:solidFill>
            </a:ln>
            <a:effectLst/>
          </c:spPr>
          <c:invertIfNegative val="0"/>
          <c:dLbls>
            <c:dLbl>
              <c:idx val="0"/>
              <c:tx>
                <c:rich>
                  <a:bodyPr/>
                  <a:lstStyle/>
                  <a:p>
                    <a:r>
                      <a:rPr>
                        <a:solidFill>
                          <a:srgbClr val="FFFFFF"/>
                        </a:solidFill>
                      </a:rPr>
                      <a:t>0.0</a:t>
                    </a:r>
                  </a:p>
                </c:rich>
              </c:tx>
              <c:showLegendKey val="0"/>
              <c:showVal val="1"/>
              <c:showCatName val="0"/>
              <c:showSerName val="0"/>
              <c:showPercent val="0"/>
              <c:showBubbleSize val="0"/>
            </c:dLbl>
            <c:dLbl>
              <c:idx val="1"/>
              <c:tx>
                <c:rich>
                  <a:bodyPr/>
                  <a:lstStyle/>
                  <a:p>
                    <a:r>
                      <a:rPr>
                        <a:solidFill>
                          <a:srgbClr val="FFFFFF"/>
                        </a:solidFill>
                      </a:rPr>
                      <a:t>0.0</a:t>
                    </a:r>
                  </a:p>
                </c:rich>
              </c:tx>
              <c:showLegendKey val="0"/>
              <c:showVal val="1"/>
              <c:showCatName val="0"/>
              <c:showSerName val="0"/>
              <c:showPercent val="0"/>
              <c:showBubbleSize val="0"/>
            </c:dLbl>
            <c:dLbl>
              <c:idx val="2"/>
              <c:tx>
                <c:rich>
                  <a:bodyPr/>
                  <a:lstStyle/>
                  <a:p>
                    <a:r>
                      <a:rPr>
                        <a:solidFill>
                          <a:srgbClr val="FFFFFF"/>
                        </a:solidFill>
                      </a:rPr>
                      <a:t>0.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W$2:$W$4</c:f>
              <c:numCache>
                <c:formatCode>General</c:formatCode>
                <c:ptCount val="3"/>
                <c:pt idx="0">
                  <c:v>0.0</c:v>
                </c:pt>
                <c:pt idx="1">
                  <c:v>0.0</c:v>
                </c:pt>
                <c:pt idx="2">
                  <c:v>0.00069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81168870410662</c:v>
                </c:pt>
                <c:pt idx="1">
                  <c:v>0.4900373604234909</c:v>
                </c:pt>
                <c:pt idx="2">
                  <c:v>0.4056563986851365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4%</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469676979063473</c:v>
                </c:pt>
                <c:pt idx="1">
                  <c:v>0.14172554817416094</c:v>
                </c:pt>
                <c:pt idx="2">
                  <c:v>0.1358841270123970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467196057645148</c:v>
                </c:pt>
                <c:pt idx="1">
                  <c:v>0.11929483109601714</c:v>
                </c:pt>
                <c:pt idx="2">
                  <c:v>0.160549732144104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620456097583001</c:v>
                </c:pt>
                <c:pt idx="1">
                  <c:v>0.06635050017474345</c:v>
                </c:pt>
                <c:pt idx="2">
                  <c:v>0.11038872594437338</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275828163814244</c:v>
                </c:pt>
                <c:pt idx="1">
                  <c:v>0.03262143337577859</c:v>
                </c:pt>
                <c:pt idx="2">
                  <c:v>0.0131256955296212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8714763026456955</c:v>
                </c:pt>
                <c:pt idx="1">
                  <c:v>0.027264874055122915</c:v>
                </c:pt>
                <c:pt idx="2">
                  <c:v>0.03863167979492926</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2582611382936383</c:v>
                </c:pt>
                <c:pt idx="1">
                  <c:v>0.013778180783064238</c:v>
                </c:pt>
                <c:pt idx="2">
                  <c:v>0.0185954627430352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10920218219888606</c:v>
                </c:pt>
                <c:pt idx="1">
                  <c:v>0.10892727191762189</c:v>
                </c:pt>
                <c:pt idx="2">
                  <c:v>0.1171681781464027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86403613274761</c:v>
                </c:pt>
                <c:pt idx="1">
                  <c:v>0.5592514370499746</c:v>
                </c:pt>
                <c:pt idx="2">
                  <c:v>0.47793785624128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3713717309332568</c:v>
                </c:pt>
                <c:pt idx="1">
                  <c:v>0.1346424721939421</c:v>
                </c:pt>
                <c:pt idx="2">
                  <c:v>0.1322269003683761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131284718346865</c:v>
                </c:pt>
                <c:pt idx="1">
                  <c:v>0.10714958888669954</c:v>
                </c:pt>
                <c:pt idx="2">
                  <c:v>0.1506895919405988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633578074991912</c:v>
                </c:pt>
                <c:pt idx="1">
                  <c:v>0.056717071150404454</c:v>
                </c:pt>
                <c:pt idx="2">
                  <c:v>0.0906153476384377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Entremon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608598216340819</c:v>
                </c:pt>
                <c:pt idx="1">
                  <c:v>0.02532514271970495</c:v>
                </c:pt>
                <c:pt idx="2">
                  <c:v>0.01009728084226233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Euria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5443345520257538</c:v>
                </c:pt>
                <c:pt idx="1">
                  <c:v>0.023992198830855065</c:v>
                </c:pt>
                <c:pt idx="2">
                  <c:v>0.0355747535280927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09173035687650136</c:v>
                </c:pt>
                <c:pt idx="1">
                  <c:v>0.010187268836819132</c:v>
                </c:pt>
                <c:pt idx="2">
                  <c:v>0.01453290768557108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Other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840558496232768</c:v>
                </c:pt>
                <c:pt idx="1">
                  <c:v>0.08273482033160014</c:v>
                </c:pt>
                <c:pt idx="2">
                  <c:v>0.0883253617553809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Mdd</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5100091025334166</c:v>
                </c:pt>
                <c:pt idx="1">
                  <c:v>0.4533178041573793</c:v>
                </c:pt>
                <c:pt idx="2">
                  <c:v>0.331235637303855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ctalis</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15%</a:t>
                    </a:r>
                  </a:p>
                </c:rich>
              </c:tx>
              <c:showLegendKey val="0"/>
              <c:showVal val="1"/>
              <c:showCatName val="0"/>
              <c:showSerName val="0"/>
              <c:showPercent val="0"/>
              <c:showBubbleSize val="0"/>
            </c:dLbl>
            <c:dLbl>
              <c:idx val="1"/>
              <c:tx>
                <c:rich>
                  <a:bodyPr/>
                  <a:lstStyle/>
                  <a:p>
                    <a:r>
                      <a:rPr sz="800">
                        <a:solidFill>
                          <a:srgbClr val="FFFFFF"/>
                        </a:solidFill>
                        <a:latin typeface="Nexa Book"/>
                      </a:rPr>
                      <a:t>15%</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4924122442405932</c:v>
                </c:pt>
                <c:pt idx="1">
                  <c:v>0.14519728925354342</c:v>
                </c:pt>
                <c:pt idx="2">
                  <c:v>0.12572813215762432</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Savencia</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293204387751318</c:v>
                </c:pt>
                <c:pt idx="1">
                  <c:v>0.12244063486358864</c:v>
                </c:pt>
                <c:pt idx="2">
                  <c:v>0.1810650182353017</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Bel</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7671644368730358</c:v>
                </c:pt>
                <c:pt idx="1">
                  <c:v>0.07728585914500125</c:v>
                </c:pt>
                <c:pt idx="2">
                  <c:v>0.144219464673715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Euria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7702913256387747</c:v>
                </c:pt>
                <c:pt idx="1">
                  <c:v>0.02702150462917357</c:v>
                </c:pt>
                <c:pt idx="2">
                  <c:v>0.04281888952188878</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Entremon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2157122898458464</c:v>
                </c:pt>
                <c:pt idx="1">
                  <c:v>0.03024302688380476</c:v>
                </c:pt>
                <c:pt idx="2">
                  <c:v>0.002048401623220092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sa Azzurr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4734311809108003</c:v>
                </c:pt>
                <c:pt idx="1">
                  <c:v>0.015334632312196976</c:v>
                </c:pt>
                <c:pt idx="2">
                  <c:v>0.022502838357683172</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Laita</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08307293045972497</c:v>
                </c:pt>
                <c:pt idx="1">
                  <c:v>0.009371692981615923</c:v>
                </c:pt>
                <c:pt idx="2">
                  <c:v>0.021373588538634882</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Other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11720773674785555</c:v>
                </c:pt>
                <c:pt idx="1">
                  <c:v>0.11978755577369615</c:v>
                </c:pt>
                <c:pt idx="2">
                  <c:v>0.1290080295880759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00.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9.xml"/><Relationship Id="rId7" Type="http://schemas.openxmlformats.org/officeDocument/2006/relationships/chart" Target="../charts/chart200.xml"/></Relationships>
</file>

<file path=ppt/slides/_rels/slide101.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1.xml"/><Relationship Id="rId7" Type="http://schemas.openxmlformats.org/officeDocument/2006/relationships/chart" Target="../charts/chart202.xml"/></Relationships>
</file>

<file path=ppt/slides/_rels/slide102.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3.xml"/><Relationship Id="rId7" Type="http://schemas.openxmlformats.org/officeDocument/2006/relationships/chart" Target="../charts/chart204.xml"/></Relationships>
</file>

<file path=ppt/slides/_rels/slide103.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5.xml"/><Relationship Id="rId7" Type="http://schemas.openxmlformats.org/officeDocument/2006/relationships/chart" Target="../charts/chart206.xml"/></Relationships>
</file>

<file path=ppt/slides/_rels/slide104.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7.xml"/><Relationship Id="rId7" Type="http://schemas.openxmlformats.org/officeDocument/2006/relationships/chart" Target="../charts/chart208.xml"/></Relationships>
</file>

<file path=ppt/slides/_rels/slide105.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09.xml"/><Relationship Id="rId7" Type="http://schemas.openxmlformats.org/officeDocument/2006/relationships/chart" Target="../charts/chart210.xml"/></Relationships>
</file>

<file path=ppt/slides/_rels/slide106.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1.xml"/><Relationship Id="rId7" Type="http://schemas.openxmlformats.org/officeDocument/2006/relationships/chart" Target="../charts/chart212.xml"/></Relationships>
</file>

<file path=ppt/slides/_rels/slide107.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3.xml"/><Relationship Id="rId7" Type="http://schemas.openxmlformats.org/officeDocument/2006/relationships/chart" Target="../charts/chart214.xml"/></Relationships>
</file>

<file path=ppt/slides/_rels/slide108.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5.xml"/><Relationship Id="rId7" Type="http://schemas.openxmlformats.org/officeDocument/2006/relationships/chart" Target="../charts/chart216.xml"/></Relationships>
</file>

<file path=ppt/slides/_rels/slide109.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7.xml"/><Relationship Id="rId7" Type="http://schemas.openxmlformats.org/officeDocument/2006/relationships/chart" Target="../charts/chart218.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 Id="rId6" Type="http://schemas.openxmlformats.org/officeDocument/2006/relationships/chart" Target="../charts/chart22.xml"/></Relationships>
</file>

<file path=ppt/slides/_rels/slide110.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19.xml"/><Relationship Id="rId7" Type="http://schemas.openxmlformats.org/officeDocument/2006/relationships/chart" Target="../charts/chart220.xml"/></Relationships>
</file>

<file path=ppt/slides/_rels/slide111.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1.xml"/><Relationship Id="rId7" Type="http://schemas.openxmlformats.org/officeDocument/2006/relationships/chart" Target="../charts/chart222.xml"/></Relationships>
</file>

<file path=ppt/slides/_rels/slide112.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3.xml"/><Relationship Id="rId7" Type="http://schemas.openxmlformats.org/officeDocument/2006/relationships/chart" Target="../charts/chart224.xml"/></Relationships>
</file>

<file path=ppt/slides/_rels/slide113.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5.xml"/><Relationship Id="rId7" Type="http://schemas.openxmlformats.org/officeDocument/2006/relationships/chart" Target="../charts/chart226.xml"/></Relationships>
</file>

<file path=ppt/slides/_rels/slide114.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7.xml"/><Relationship Id="rId7" Type="http://schemas.openxmlformats.org/officeDocument/2006/relationships/chart" Target="../charts/chart228.xml"/></Relationships>
</file>

<file path=ppt/slides/_rels/slide115.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29.xml"/><Relationship Id="rId7" Type="http://schemas.openxmlformats.org/officeDocument/2006/relationships/chart" Target="../charts/chart230.xml"/></Relationships>
</file>

<file path=ppt/slides/_rels/slide116.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1.xml"/><Relationship Id="rId7" Type="http://schemas.openxmlformats.org/officeDocument/2006/relationships/chart" Target="../charts/chart232.xml"/></Relationships>
</file>

<file path=ppt/slides/_rels/slide117.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3.xml"/><Relationship Id="rId7" Type="http://schemas.openxmlformats.org/officeDocument/2006/relationships/chart" Target="../charts/chart234.xml"/></Relationships>
</file>

<file path=ppt/slides/_rels/slide118.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5.xml"/><Relationship Id="rId7" Type="http://schemas.openxmlformats.org/officeDocument/2006/relationships/chart" Target="../charts/chart236.xml"/></Relationships>
</file>

<file path=ppt/slides/_rels/slide119.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7.xml"/><Relationship Id="rId7" Type="http://schemas.openxmlformats.org/officeDocument/2006/relationships/chart" Target="../charts/chart23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 Id="rId6" Type="http://schemas.openxmlformats.org/officeDocument/2006/relationships/chart" Target="../charts/chart24.xml"/></Relationships>
</file>

<file path=ppt/slides/_rels/slide120.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39.xml"/><Relationship Id="rId7" Type="http://schemas.openxmlformats.org/officeDocument/2006/relationships/chart" Target="../charts/chart240.xml"/></Relationships>
</file>

<file path=ppt/slides/_rels/slide121.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1.xml"/><Relationship Id="rId7" Type="http://schemas.openxmlformats.org/officeDocument/2006/relationships/chart" Target="../charts/chart242.xml"/></Relationships>
</file>

<file path=ppt/slides/_rels/slide122.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3.xml"/><Relationship Id="rId7" Type="http://schemas.openxmlformats.org/officeDocument/2006/relationships/chart" Target="../charts/chart244.xml"/></Relationships>
</file>

<file path=ppt/slides/_rels/slide123.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5.xml"/><Relationship Id="rId7" Type="http://schemas.openxmlformats.org/officeDocument/2006/relationships/chart" Target="../charts/chart246.xml"/></Relationships>
</file>

<file path=ppt/slides/_rels/slide124.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7.xml"/><Relationship Id="rId7" Type="http://schemas.openxmlformats.org/officeDocument/2006/relationships/chart" Target="../charts/chart248.xml"/></Relationships>
</file>

<file path=ppt/slides/_rels/slide125.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49.xml"/><Relationship Id="rId7" Type="http://schemas.openxmlformats.org/officeDocument/2006/relationships/chart" Target="../charts/chart250.xml"/></Relationships>
</file>

<file path=ppt/slides/_rels/slide126.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1.xml"/><Relationship Id="rId7" Type="http://schemas.openxmlformats.org/officeDocument/2006/relationships/chart" Target="../charts/chart252.xml"/></Relationships>
</file>

<file path=ppt/slides/_rels/slide127.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3.xml"/><Relationship Id="rId7" Type="http://schemas.openxmlformats.org/officeDocument/2006/relationships/chart" Target="../charts/chart254.xml"/></Relationships>
</file>

<file path=ppt/slides/_rels/slide128.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5.xml"/><Relationship Id="rId7" Type="http://schemas.openxmlformats.org/officeDocument/2006/relationships/chart" Target="../charts/chart256.xml"/></Relationships>
</file>

<file path=ppt/slides/_rels/slide129.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7.xml"/><Relationship Id="rId7" Type="http://schemas.openxmlformats.org/officeDocument/2006/relationships/chart" Target="../charts/chart258.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s>
</file>

<file path=ppt/slides/_rels/slide130.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59.xml"/><Relationship Id="rId7" Type="http://schemas.openxmlformats.org/officeDocument/2006/relationships/chart" Target="../charts/chart260.xml"/></Relationships>
</file>

<file path=ppt/slides/_rels/slide131.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1.xml"/><Relationship Id="rId7" Type="http://schemas.openxmlformats.org/officeDocument/2006/relationships/chart" Target="../charts/chart262.xml"/></Relationships>
</file>

<file path=ppt/slides/_rels/slide132.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3.xml"/><Relationship Id="rId7" Type="http://schemas.openxmlformats.org/officeDocument/2006/relationships/chart" Target="../charts/chart264.xml"/></Relationships>
</file>

<file path=ppt/slides/_rels/slide133.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5.xml"/><Relationship Id="rId7" Type="http://schemas.openxmlformats.org/officeDocument/2006/relationships/chart" Target="../charts/chart266.xml"/></Relationships>
</file>

<file path=ppt/slides/_rels/slide134.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7.xml"/><Relationship Id="rId7" Type="http://schemas.openxmlformats.org/officeDocument/2006/relationships/chart" Target="../charts/chart268.xml"/></Relationships>
</file>

<file path=ppt/slides/_rels/slide135.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69.xml"/><Relationship Id="rId7" Type="http://schemas.openxmlformats.org/officeDocument/2006/relationships/chart" Target="../charts/chart270.xml"/></Relationships>
</file>

<file path=ppt/slides/_rels/slide136.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1.xml"/><Relationship Id="rId7" Type="http://schemas.openxmlformats.org/officeDocument/2006/relationships/chart" Target="../charts/chart272.xml"/></Relationships>
</file>

<file path=ppt/slides/_rels/slide137.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3.xml"/><Relationship Id="rId7" Type="http://schemas.openxmlformats.org/officeDocument/2006/relationships/chart" Target="../charts/chart274.xml"/></Relationships>
</file>

<file path=ppt/slides/_rels/slide138.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5.xml"/><Relationship Id="rId7" Type="http://schemas.openxmlformats.org/officeDocument/2006/relationships/chart" Target="../charts/chart276.xml"/></Relationships>
</file>

<file path=ppt/slides/_rels/slide139.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7.xml"/><Relationship Id="rId7" Type="http://schemas.openxmlformats.org/officeDocument/2006/relationships/chart" Target="../charts/chart27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s>
</file>

<file path=ppt/slides/_rels/slide140.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79.xml"/><Relationship Id="rId7" Type="http://schemas.openxmlformats.org/officeDocument/2006/relationships/chart" Target="../charts/chart280.xml"/></Relationships>
</file>

<file path=ppt/slides/_rels/slide141.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1.xml"/><Relationship Id="rId7" Type="http://schemas.openxmlformats.org/officeDocument/2006/relationships/chart" Target="../charts/chart282.xml"/></Relationships>
</file>

<file path=ppt/slides/_rels/slide142.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283.xml"/><Relationship Id="rId7" Type="http://schemas.openxmlformats.org/officeDocument/2006/relationships/chart" Target="../charts/chart28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 Id="rId6"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 Id="rId6"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 Id="rId6"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 Id="rId6"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 Id="rId6"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 Id="rId6"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 Id="rId6"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 Id="rId6"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 Id="rId6"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 Id="rId6"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 Id="rId6"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 Id="rId6"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 Id="rId6"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 Id="rId6"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 Id="rId6"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 Id="rId6"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 Id="rId6"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 Id="rId6"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 Id="rId6"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 Id="rId6"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 Id="rId6"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 Id="rId6"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 Id="rId6"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 Id="rId6"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 Id="rId6"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 Id="rId6" Type="http://schemas.openxmlformats.org/officeDocument/2006/relationships/chart" Target="../charts/chart8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 Id="rId6" Type="http://schemas.openxmlformats.org/officeDocument/2006/relationships/chart" Target="../charts/chart8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 Id="rId6" Type="http://schemas.openxmlformats.org/officeDocument/2006/relationships/chart" Target="../charts/chart90.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 Id="rId6" Type="http://schemas.openxmlformats.org/officeDocument/2006/relationships/chart" Target="../charts/chart92.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 Id="rId6" Type="http://schemas.openxmlformats.org/officeDocument/2006/relationships/chart" Target="../charts/chart94.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 Id="rId6" Type="http://schemas.openxmlformats.org/officeDocument/2006/relationships/chart" Target="../charts/chart9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97.xml"/><Relationship Id="rId4" Type="http://schemas.openxmlformats.org/officeDocument/2006/relationships/chart" Target="../charts/chart9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 Id="rId6" Type="http://schemas.openxmlformats.org/officeDocument/2006/relationships/chart" Target="../charts/char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99.xml"/><Relationship Id="rId4" Type="http://schemas.openxmlformats.org/officeDocument/2006/relationships/chart" Target="../charts/chart10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101.xml"/><Relationship Id="rId4" Type="http://schemas.openxmlformats.org/officeDocument/2006/relationships/chart" Target="../charts/chart10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103.xml"/><Relationship Id="rId4" Type="http://schemas.openxmlformats.org/officeDocument/2006/relationships/chart" Target="../charts/chart10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105.xml"/><Relationship Id="rId4" Type="http://schemas.openxmlformats.org/officeDocument/2006/relationships/chart" Target="../charts/chart10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107.xml"/><Relationship Id="rId4" Type="http://schemas.openxmlformats.org/officeDocument/2006/relationships/chart" Target="../charts/chart10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109.xml"/><Relationship Id="rId4" Type="http://schemas.openxmlformats.org/officeDocument/2006/relationships/chart" Target="../charts/chart1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111.xml"/><Relationship Id="rId4" Type="http://schemas.openxmlformats.org/officeDocument/2006/relationships/chart" Target="../charts/chart1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113.xml"/><Relationship Id="rId4" Type="http://schemas.openxmlformats.org/officeDocument/2006/relationships/chart" Target="../charts/chart1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115.xml"/><Relationship Id="rId4" Type="http://schemas.openxmlformats.org/officeDocument/2006/relationships/chart" Target="../charts/chart1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117.xml"/><Relationship Id="rId4" Type="http://schemas.openxmlformats.org/officeDocument/2006/relationships/chart" Target="../charts/chart11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119.xml"/><Relationship Id="rId4" Type="http://schemas.openxmlformats.org/officeDocument/2006/relationships/chart" Target="../charts/chart1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121.xml"/><Relationship Id="rId4" Type="http://schemas.openxmlformats.org/officeDocument/2006/relationships/chart" Target="../charts/chart12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123.xml"/><Relationship Id="rId4" Type="http://schemas.openxmlformats.org/officeDocument/2006/relationships/chart" Target="../charts/chart1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125.xml"/><Relationship Id="rId4" Type="http://schemas.openxmlformats.org/officeDocument/2006/relationships/chart" Target="../charts/chart12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127.xml"/><Relationship Id="rId4" Type="http://schemas.openxmlformats.org/officeDocument/2006/relationships/chart" Target="../charts/chart12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129.xml"/><Relationship Id="rId4" Type="http://schemas.openxmlformats.org/officeDocument/2006/relationships/chart" Target="../charts/chart13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131.xml"/><Relationship Id="rId4" Type="http://schemas.openxmlformats.org/officeDocument/2006/relationships/chart" Target="../charts/chart1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133.xml"/><Relationship Id="rId4" Type="http://schemas.openxmlformats.org/officeDocument/2006/relationships/chart" Target="../charts/chart13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135.xml"/><Relationship Id="rId4" Type="http://schemas.openxmlformats.org/officeDocument/2006/relationships/chart" Target="../charts/chart13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137.xml"/><Relationship Id="rId4" Type="http://schemas.openxmlformats.org/officeDocument/2006/relationships/chart" Target="../charts/chart13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 Id="rId6" Type="http://schemas.openxmlformats.org/officeDocument/2006/relationships/chart" Target="../charts/char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139.xml"/><Relationship Id="rId4" Type="http://schemas.openxmlformats.org/officeDocument/2006/relationships/chart" Target="../charts/chart1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141.xml"/><Relationship Id="rId4" Type="http://schemas.openxmlformats.org/officeDocument/2006/relationships/chart" Target="../charts/chart14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143.xml"/><Relationship Id="rId4" Type="http://schemas.openxmlformats.org/officeDocument/2006/relationships/chart" Target="../charts/chart14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45.xml"/><Relationship Id="rId4" Type="http://schemas.openxmlformats.org/officeDocument/2006/relationships/chart" Target="../charts/chart14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147.xml"/><Relationship Id="rId4" Type="http://schemas.openxmlformats.org/officeDocument/2006/relationships/chart" Target="../charts/chart14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49.xml"/><Relationship Id="rId4" Type="http://schemas.openxmlformats.org/officeDocument/2006/relationships/chart" Target="../charts/chart15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51.xml"/><Relationship Id="rId4" Type="http://schemas.openxmlformats.org/officeDocument/2006/relationships/chart" Target="../charts/chart1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153.xml"/><Relationship Id="rId4" Type="http://schemas.openxmlformats.org/officeDocument/2006/relationships/chart" Target="../charts/chart15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155.xml"/><Relationship Id="rId4" Type="http://schemas.openxmlformats.org/officeDocument/2006/relationships/chart" Target="../charts/chart15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157.xml"/><Relationship Id="rId4" Type="http://schemas.openxmlformats.org/officeDocument/2006/relationships/chart" Target="../charts/chart158.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 Id="rId6" Type="http://schemas.openxmlformats.org/officeDocument/2006/relationships/chart" Target="../charts/chart1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59.xml"/><Relationship Id="rId4" Type="http://schemas.openxmlformats.org/officeDocument/2006/relationships/chart" Target="../charts/chart16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61.xml"/><Relationship Id="rId4" Type="http://schemas.openxmlformats.org/officeDocument/2006/relationships/chart" Target="../charts/chart16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63.xml"/><Relationship Id="rId4" Type="http://schemas.openxmlformats.org/officeDocument/2006/relationships/chart" Target="../charts/chart16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165.xml"/><Relationship Id="rId4" Type="http://schemas.openxmlformats.org/officeDocument/2006/relationships/chart" Target="../charts/chart16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167.xml"/><Relationship Id="rId4" Type="http://schemas.openxmlformats.org/officeDocument/2006/relationships/chart" Target="../charts/chart16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169.xml"/><Relationship Id="rId4" Type="http://schemas.openxmlformats.org/officeDocument/2006/relationships/chart" Target="../charts/chart17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71.xml"/><Relationship Id="rId4" Type="http://schemas.openxmlformats.org/officeDocument/2006/relationships/chart" Target="../charts/chart17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73.xml"/><Relationship Id="rId4" Type="http://schemas.openxmlformats.org/officeDocument/2006/relationships/chart" Target="../charts/chart1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75.xml"/><Relationship Id="rId4" Type="http://schemas.openxmlformats.org/officeDocument/2006/relationships/chart" Target="../charts/chart17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77.xml"/><Relationship Id="rId4" Type="http://schemas.openxmlformats.org/officeDocument/2006/relationships/chart" Target="../charts/chart17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179.xml"/><Relationship Id="rId4" Type="http://schemas.openxmlformats.org/officeDocument/2006/relationships/chart" Target="../charts/chart18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181.xml"/><Relationship Id="rId4" Type="http://schemas.openxmlformats.org/officeDocument/2006/relationships/chart" Target="../charts/chart18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183.xml"/><Relationship Id="rId4" Type="http://schemas.openxmlformats.org/officeDocument/2006/relationships/chart" Target="../charts/chart18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chart" Target="../charts/chart185.xml"/><Relationship Id="rId4" Type="http://schemas.openxmlformats.org/officeDocument/2006/relationships/chart" Target="../charts/chart18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187.xml"/><Relationship Id="rId4" Type="http://schemas.openxmlformats.org/officeDocument/2006/relationships/chart" Target="../charts/chart18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chart" Target="../charts/chart189.xml"/><Relationship Id="rId4" Type="http://schemas.openxmlformats.org/officeDocument/2006/relationships/chart" Target="../charts/chart19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 Id="rId3" Type="http://schemas.openxmlformats.org/officeDocument/2006/relationships/chart" Target="../charts/chart191.xml"/><Relationship Id="rId4" Type="http://schemas.openxmlformats.org/officeDocument/2006/relationships/chart" Target="../charts/chart192.xml"/></Relationships>
</file>

<file path=ppt/slides/_rels/slide97.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3.xml"/><Relationship Id="rId7" Type="http://schemas.openxmlformats.org/officeDocument/2006/relationships/chart" Target="../charts/chart194.xml"/></Relationships>
</file>

<file path=ppt/slides/_rels/slide98.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5.xml"/><Relationship Id="rId7" Type="http://schemas.openxmlformats.org/officeDocument/2006/relationships/chart" Target="../charts/chart196.xml"/></Relationships>
</file>

<file path=ppt/slides/_rels/slide99.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8.bin"/><Relationship Id="rId5" Type="http://schemas.openxmlformats.org/officeDocument/2006/relationships/image" Target="../media/image29.emf"/><Relationship Id="rId6" Type="http://schemas.openxmlformats.org/officeDocument/2006/relationships/chart" Target="../charts/chart197.xml"/><Relationship Id="rId7" Type="http://schemas.openxmlformats.org/officeDocument/2006/relationships/chart" Target="../charts/chart1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Total Fromag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5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023807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Ingredient A Chaud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88902516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el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7.5%</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8%</a:t>
                      </a:r>
                      <a:r>
                        <a:rPr sz="700">
                          <a:solidFill>
                            <a:srgbClr val="575555"/>
                          </a:solidFill>
                          <a:latin typeface="Nexa Book"/>
                        </a:rPr>
                        <a:t> | </a:t>
                      </a:r>
                      <a:r>
                        <a:rPr sz="700">
                          <a:solidFill>
                            <a:srgbClr val="C00000"/>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1040783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Kiri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586326706"/>
                    </a:ext>
                  </a:extLst>
                </a:gridCol>
                <a:gridCol w="678318">
                  <a:extLst>
                    <a:ext uri="{9D8B030D-6E8A-4147-A177-3AD203B41FA5}">
                      <a16:colId xmlns:a16="http://schemas.microsoft.com/office/drawing/2014/main" val="786404783"/>
                    </a:ext>
                  </a:extLst>
                </a:gridCol>
                <a:gridCol w="678318">
                  <a:extLst>
                    <a:ext uri="{9D8B030D-6E8A-4147-A177-3AD203B41FA5}">
                      <a16:colId xmlns:a16="http://schemas.microsoft.com/office/drawing/2014/main" val="2712606379"/>
                    </a:ext>
                  </a:extLst>
                </a:gridCol>
                <a:gridCol w="678318">
                  <a:extLst>
                    <a:ext uri="{9D8B030D-6E8A-4147-A177-3AD203B41FA5}">
                      <a16:colId xmlns:a16="http://schemas.microsoft.com/office/drawing/2014/main" val="2334528175"/>
                    </a:ext>
                  </a:extLst>
                </a:gridCol>
                <a:gridCol w="678318">
                  <a:extLst>
                    <a:ext uri="{9D8B030D-6E8A-4147-A177-3AD203B41FA5}">
                      <a16:colId xmlns:a16="http://schemas.microsoft.com/office/drawing/2014/main" val="3835393650"/>
                    </a:ext>
                  </a:extLst>
                </a:gridCol>
                <a:gridCol w="678318">
                  <a:extLst>
                    <a:ext uri="{9D8B030D-6E8A-4147-A177-3AD203B41FA5}">
                      <a16:colId xmlns:a16="http://schemas.microsoft.com/office/drawing/2014/main" val="3705822644"/>
                    </a:ext>
                  </a:extLst>
                </a:gridCol>
                <a:gridCol w="678318">
                  <a:extLst>
                    <a:ext uri="{9D8B030D-6E8A-4147-A177-3AD203B41FA5}">
                      <a16:colId xmlns:a16="http://schemas.microsoft.com/office/drawing/2014/main" val="184560546"/>
                    </a:ext>
                  </a:extLst>
                </a:gridCol>
                <a:gridCol w="678318">
                  <a:extLst>
                    <a:ext uri="{9D8B030D-6E8A-4147-A177-3AD203B41FA5}">
                      <a16:colId xmlns:a16="http://schemas.microsoft.com/office/drawing/2014/main" val="712457864"/>
                    </a:ext>
                  </a:extLst>
                </a:gridCol>
                <a:gridCol w="678318">
                  <a:extLst>
                    <a:ext uri="{9D8B030D-6E8A-4147-A177-3AD203B41FA5}">
                      <a16:colId xmlns:a16="http://schemas.microsoft.com/office/drawing/2014/main" val="2719112317"/>
                    </a:ext>
                  </a:extLst>
                </a:gridCol>
                <a:gridCol w="678318">
                  <a:extLst>
                    <a:ext uri="{9D8B030D-6E8A-4147-A177-3AD203B41FA5}">
                      <a16:colId xmlns:a16="http://schemas.microsoft.com/office/drawing/2014/main" val="1610204172"/>
                    </a:ext>
                  </a:extLst>
                </a:gridCol>
                <a:gridCol w="678318">
                  <a:extLst>
                    <a:ext uri="{9D8B030D-6E8A-4147-A177-3AD203B41FA5}">
                      <a16:colId xmlns:a16="http://schemas.microsoft.com/office/drawing/2014/main" val="4106856681"/>
                    </a:ext>
                  </a:extLst>
                </a:gridCol>
                <a:gridCol w="67831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9459263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La Vache Qui Rit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586326706"/>
                    </a:ext>
                  </a:extLst>
                </a:gridCol>
                <a:gridCol w="678318">
                  <a:extLst>
                    <a:ext uri="{9D8B030D-6E8A-4147-A177-3AD203B41FA5}">
                      <a16:colId xmlns:a16="http://schemas.microsoft.com/office/drawing/2014/main" val="786404783"/>
                    </a:ext>
                  </a:extLst>
                </a:gridCol>
                <a:gridCol w="678318">
                  <a:extLst>
                    <a:ext uri="{9D8B030D-6E8A-4147-A177-3AD203B41FA5}">
                      <a16:colId xmlns:a16="http://schemas.microsoft.com/office/drawing/2014/main" val="2712606379"/>
                    </a:ext>
                  </a:extLst>
                </a:gridCol>
                <a:gridCol w="678318">
                  <a:extLst>
                    <a:ext uri="{9D8B030D-6E8A-4147-A177-3AD203B41FA5}">
                      <a16:colId xmlns:a16="http://schemas.microsoft.com/office/drawing/2014/main" val="2334528175"/>
                    </a:ext>
                  </a:extLst>
                </a:gridCol>
                <a:gridCol w="678318">
                  <a:extLst>
                    <a:ext uri="{9D8B030D-6E8A-4147-A177-3AD203B41FA5}">
                      <a16:colId xmlns:a16="http://schemas.microsoft.com/office/drawing/2014/main" val="3835393650"/>
                    </a:ext>
                  </a:extLst>
                </a:gridCol>
                <a:gridCol w="678318">
                  <a:extLst>
                    <a:ext uri="{9D8B030D-6E8A-4147-A177-3AD203B41FA5}">
                      <a16:colId xmlns:a16="http://schemas.microsoft.com/office/drawing/2014/main" val="3705822644"/>
                    </a:ext>
                  </a:extLst>
                </a:gridCol>
                <a:gridCol w="678318">
                  <a:extLst>
                    <a:ext uri="{9D8B030D-6E8A-4147-A177-3AD203B41FA5}">
                      <a16:colId xmlns:a16="http://schemas.microsoft.com/office/drawing/2014/main" val="184560546"/>
                    </a:ext>
                  </a:extLst>
                </a:gridCol>
                <a:gridCol w="678318">
                  <a:extLst>
                    <a:ext uri="{9D8B030D-6E8A-4147-A177-3AD203B41FA5}">
                      <a16:colId xmlns:a16="http://schemas.microsoft.com/office/drawing/2014/main" val="712457864"/>
                    </a:ext>
                  </a:extLst>
                </a:gridCol>
                <a:gridCol w="678318">
                  <a:extLst>
                    <a:ext uri="{9D8B030D-6E8A-4147-A177-3AD203B41FA5}">
                      <a16:colId xmlns:a16="http://schemas.microsoft.com/office/drawing/2014/main" val="2719112317"/>
                    </a:ext>
                  </a:extLst>
                </a:gridCol>
                <a:gridCol w="678318">
                  <a:extLst>
                    <a:ext uri="{9D8B030D-6E8A-4147-A177-3AD203B41FA5}">
                      <a16:colId xmlns:a16="http://schemas.microsoft.com/office/drawing/2014/main" val="1610204172"/>
                    </a:ext>
                  </a:extLst>
                </a:gridCol>
                <a:gridCol w="678318">
                  <a:extLst>
                    <a:ext uri="{9D8B030D-6E8A-4147-A177-3AD203B41FA5}">
                      <a16:colId xmlns:a16="http://schemas.microsoft.com/office/drawing/2014/main" val="4106856681"/>
                    </a:ext>
                  </a:extLst>
                </a:gridCol>
                <a:gridCol w="67831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72893506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oursin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586326706"/>
                    </a:ext>
                  </a:extLst>
                </a:gridCol>
                <a:gridCol w="678318">
                  <a:extLst>
                    <a:ext uri="{9D8B030D-6E8A-4147-A177-3AD203B41FA5}">
                      <a16:colId xmlns:a16="http://schemas.microsoft.com/office/drawing/2014/main" val="786404783"/>
                    </a:ext>
                  </a:extLst>
                </a:gridCol>
                <a:gridCol w="678318">
                  <a:extLst>
                    <a:ext uri="{9D8B030D-6E8A-4147-A177-3AD203B41FA5}">
                      <a16:colId xmlns:a16="http://schemas.microsoft.com/office/drawing/2014/main" val="2712606379"/>
                    </a:ext>
                  </a:extLst>
                </a:gridCol>
                <a:gridCol w="678318">
                  <a:extLst>
                    <a:ext uri="{9D8B030D-6E8A-4147-A177-3AD203B41FA5}">
                      <a16:colId xmlns:a16="http://schemas.microsoft.com/office/drawing/2014/main" val="2334528175"/>
                    </a:ext>
                  </a:extLst>
                </a:gridCol>
                <a:gridCol w="678318">
                  <a:extLst>
                    <a:ext uri="{9D8B030D-6E8A-4147-A177-3AD203B41FA5}">
                      <a16:colId xmlns:a16="http://schemas.microsoft.com/office/drawing/2014/main" val="3835393650"/>
                    </a:ext>
                  </a:extLst>
                </a:gridCol>
                <a:gridCol w="678318">
                  <a:extLst>
                    <a:ext uri="{9D8B030D-6E8A-4147-A177-3AD203B41FA5}">
                      <a16:colId xmlns:a16="http://schemas.microsoft.com/office/drawing/2014/main" val="3705822644"/>
                    </a:ext>
                  </a:extLst>
                </a:gridCol>
                <a:gridCol w="678318">
                  <a:extLst>
                    <a:ext uri="{9D8B030D-6E8A-4147-A177-3AD203B41FA5}">
                      <a16:colId xmlns:a16="http://schemas.microsoft.com/office/drawing/2014/main" val="184560546"/>
                    </a:ext>
                  </a:extLst>
                </a:gridCol>
                <a:gridCol w="678318">
                  <a:extLst>
                    <a:ext uri="{9D8B030D-6E8A-4147-A177-3AD203B41FA5}">
                      <a16:colId xmlns:a16="http://schemas.microsoft.com/office/drawing/2014/main" val="712457864"/>
                    </a:ext>
                  </a:extLst>
                </a:gridCol>
                <a:gridCol w="678318">
                  <a:extLst>
                    <a:ext uri="{9D8B030D-6E8A-4147-A177-3AD203B41FA5}">
                      <a16:colId xmlns:a16="http://schemas.microsoft.com/office/drawing/2014/main" val="2719112317"/>
                    </a:ext>
                  </a:extLst>
                </a:gridCol>
                <a:gridCol w="678318">
                  <a:extLst>
                    <a:ext uri="{9D8B030D-6E8A-4147-A177-3AD203B41FA5}">
                      <a16:colId xmlns:a16="http://schemas.microsoft.com/office/drawing/2014/main" val="1610204172"/>
                    </a:ext>
                  </a:extLst>
                </a:gridCol>
                <a:gridCol w="678318">
                  <a:extLst>
                    <a:ext uri="{9D8B030D-6E8A-4147-A177-3AD203B41FA5}">
                      <a16:colId xmlns:a16="http://schemas.microsoft.com/office/drawing/2014/main" val="4106856681"/>
                    </a:ext>
                  </a:extLst>
                </a:gridCol>
                <a:gridCol w="67831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9%</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00A097"/>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1815203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el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586326706"/>
                    </a:ext>
                  </a:extLst>
                </a:gridCol>
                <a:gridCol w="678318">
                  <a:extLst>
                    <a:ext uri="{9D8B030D-6E8A-4147-A177-3AD203B41FA5}">
                      <a16:colId xmlns:a16="http://schemas.microsoft.com/office/drawing/2014/main" val="786404783"/>
                    </a:ext>
                  </a:extLst>
                </a:gridCol>
                <a:gridCol w="678318">
                  <a:extLst>
                    <a:ext uri="{9D8B030D-6E8A-4147-A177-3AD203B41FA5}">
                      <a16:colId xmlns:a16="http://schemas.microsoft.com/office/drawing/2014/main" val="2712606379"/>
                    </a:ext>
                  </a:extLst>
                </a:gridCol>
                <a:gridCol w="678318">
                  <a:extLst>
                    <a:ext uri="{9D8B030D-6E8A-4147-A177-3AD203B41FA5}">
                      <a16:colId xmlns:a16="http://schemas.microsoft.com/office/drawing/2014/main" val="2334528175"/>
                    </a:ext>
                  </a:extLst>
                </a:gridCol>
                <a:gridCol w="678318">
                  <a:extLst>
                    <a:ext uri="{9D8B030D-6E8A-4147-A177-3AD203B41FA5}">
                      <a16:colId xmlns:a16="http://schemas.microsoft.com/office/drawing/2014/main" val="3835393650"/>
                    </a:ext>
                  </a:extLst>
                </a:gridCol>
                <a:gridCol w="678318">
                  <a:extLst>
                    <a:ext uri="{9D8B030D-6E8A-4147-A177-3AD203B41FA5}">
                      <a16:colId xmlns:a16="http://schemas.microsoft.com/office/drawing/2014/main" val="3705822644"/>
                    </a:ext>
                  </a:extLst>
                </a:gridCol>
                <a:gridCol w="678318">
                  <a:extLst>
                    <a:ext uri="{9D8B030D-6E8A-4147-A177-3AD203B41FA5}">
                      <a16:colId xmlns:a16="http://schemas.microsoft.com/office/drawing/2014/main" val="184560546"/>
                    </a:ext>
                  </a:extLst>
                </a:gridCol>
                <a:gridCol w="678318">
                  <a:extLst>
                    <a:ext uri="{9D8B030D-6E8A-4147-A177-3AD203B41FA5}">
                      <a16:colId xmlns:a16="http://schemas.microsoft.com/office/drawing/2014/main" val="712457864"/>
                    </a:ext>
                  </a:extLst>
                </a:gridCol>
                <a:gridCol w="678318">
                  <a:extLst>
                    <a:ext uri="{9D8B030D-6E8A-4147-A177-3AD203B41FA5}">
                      <a16:colId xmlns:a16="http://schemas.microsoft.com/office/drawing/2014/main" val="2719112317"/>
                    </a:ext>
                  </a:extLst>
                </a:gridCol>
                <a:gridCol w="678318">
                  <a:extLst>
                    <a:ext uri="{9D8B030D-6E8A-4147-A177-3AD203B41FA5}">
                      <a16:colId xmlns:a16="http://schemas.microsoft.com/office/drawing/2014/main" val="1610204172"/>
                    </a:ext>
                  </a:extLst>
                </a:gridCol>
                <a:gridCol w="678318">
                  <a:extLst>
                    <a:ext uri="{9D8B030D-6E8A-4147-A177-3AD203B41FA5}">
                      <a16:colId xmlns:a16="http://schemas.microsoft.com/office/drawing/2014/main" val="4106856681"/>
                    </a:ext>
                  </a:extLst>
                </a:gridCol>
                <a:gridCol w="67831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1%</a:t>
                      </a:r>
                      <a:r>
                        <a:rPr sz="700">
                          <a:solidFill>
                            <a:srgbClr val="575555"/>
                          </a:solidFill>
                          <a:latin typeface="Nexa Book"/>
                        </a:rPr>
                        <a:t> | </a:t>
                      </a:r>
                      <a:r>
                        <a:rPr sz="700">
                          <a:solidFill>
                            <a:srgbClr val="C00000"/>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6538226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Kiri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52866169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La Vache Qui Rit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1343451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oursin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9574039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el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4%</a:t>
                      </a:r>
                      <a:r>
                        <a:rPr sz="700">
                          <a:solidFill>
                            <a:srgbClr val="575555"/>
                          </a:solidFill>
                          <a:latin typeface="Nexa Book"/>
                        </a:rPr>
                        <a:t> | </a:t>
                      </a:r>
                      <a:r>
                        <a:rPr sz="700">
                          <a:solidFill>
                            <a:srgbClr val="C00000"/>
                          </a:solidFill>
                          <a:latin typeface="Nexa Book"/>
                        </a:rP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5%</a:t>
                      </a:r>
                      <a:r>
                        <a:rPr sz="700">
                          <a:solidFill>
                            <a:srgbClr val="575555"/>
                          </a:solidFill>
                          <a:latin typeface="Nexa Book"/>
                        </a:rPr>
                        <a:t> | </a:t>
                      </a:r>
                      <a:r>
                        <a:rPr sz="700">
                          <a:solidFill>
                            <a:srgbClr val="00A097"/>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8572776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Kiri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1"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253286919"/>
                    </a:ext>
                  </a:extLst>
                </a:gridCol>
                <a:gridCol w="355309">
                  <a:extLst>
                    <a:ext uri="{9D8B030D-6E8A-4147-A177-3AD203B41FA5}">
                      <a16:colId xmlns:a16="http://schemas.microsoft.com/office/drawing/2014/main" val="154020430"/>
                    </a:ext>
                  </a:extLst>
                </a:gridCol>
                <a:gridCol w="355309">
                  <a:extLst>
                    <a:ext uri="{9D8B030D-6E8A-4147-A177-3AD203B41FA5}">
                      <a16:colId xmlns:a16="http://schemas.microsoft.com/office/drawing/2014/main" val="3928813835"/>
                    </a:ext>
                  </a:extLst>
                </a:gridCol>
                <a:gridCol w="355309">
                  <a:extLst>
                    <a:ext uri="{9D8B030D-6E8A-4147-A177-3AD203B41FA5}">
                      <a16:colId xmlns:a16="http://schemas.microsoft.com/office/drawing/2014/main" val="3374165474"/>
                    </a:ext>
                  </a:extLst>
                </a:gridCol>
                <a:gridCol w="355309">
                  <a:extLst>
                    <a:ext uri="{9D8B030D-6E8A-4147-A177-3AD203B41FA5}">
                      <a16:colId xmlns:a16="http://schemas.microsoft.com/office/drawing/2014/main" val="99928969"/>
                    </a:ext>
                  </a:extLst>
                </a:gridCol>
                <a:gridCol w="355309">
                  <a:extLst>
                    <a:ext uri="{9D8B030D-6E8A-4147-A177-3AD203B41FA5}">
                      <a16:colId xmlns:a16="http://schemas.microsoft.com/office/drawing/2014/main" val="127408809"/>
                    </a:ext>
                  </a:extLst>
                </a:gridCol>
                <a:gridCol w="355309">
                  <a:extLst>
                    <a:ext uri="{9D8B030D-6E8A-4147-A177-3AD203B41FA5}">
                      <a16:colId xmlns:a16="http://schemas.microsoft.com/office/drawing/2014/main" val="3994312964"/>
                    </a:ext>
                  </a:extLst>
                </a:gridCol>
                <a:gridCol w="355309">
                  <a:extLst>
                    <a:ext uri="{9D8B030D-6E8A-4147-A177-3AD203B41FA5}">
                      <a16:colId xmlns:a16="http://schemas.microsoft.com/office/drawing/2014/main" val="384709931"/>
                    </a:ext>
                  </a:extLst>
                </a:gridCol>
                <a:gridCol w="355309">
                  <a:extLst>
                    <a:ext uri="{9D8B030D-6E8A-4147-A177-3AD203B41FA5}">
                      <a16:colId xmlns:a16="http://schemas.microsoft.com/office/drawing/2014/main" val="217012177"/>
                    </a:ext>
                  </a:extLst>
                </a:gridCol>
                <a:gridCol w="355309">
                  <a:extLst>
                    <a:ext uri="{9D8B030D-6E8A-4147-A177-3AD203B41FA5}">
                      <a16:colId xmlns:a16="http://schemas.microsoft.com/office/drawing/2014/main" val="2084146792"/>
                    </a:ext>
                  </a:extLst>
                </a:gridCol>
                <a:gridCol w="355309">
                  <a:extLst>
                    <a:ext uri="{9D8B030D-6E8A-4147-A177-3AD203B41FA5}">
                      <a16:colId xmlns:a16="http://schemas.microsoft.com/office/drawing/2014/main" val="586326706"/>
                    </a:ext>
                  </a:extLst>
                </a:gridCol>
                <a:gridCol w="355309">
                  <a:extLst>
                    <a:ext uri="{9D8B030D-6E8A-4147-A177-3AD203B41FA5}">
                      <a16:colId xmlns:a16="http://schemas.microsoft.com/office/drawing/2014/main" val="786404783"/>
                    </a:ext>
                  </a:extLst>
                </a:gridCol>
                <a:gridCol w="355309">
                  <a:extLst>
                    <a:ext uri="{9D8B030D-6E8A-4147-A177-3AD203B41FA5}">
                      <a16:colId xmlns:a16="http://schemas.microsoft.com/office/drawing/2014/main" val="2712606379"/>
                    </a:ext>
                  </a:extLst>
                </a:gridCol>
                <a:gridCol w="355309">
                  <a:extLst>
                    <a:ext uri="{9D8B030D-6E8A-4147-A177-3AD203B41FA5}">
                      <a16:colId xmlns:a16="http://schemas.microsoft.com/office/drawing/2014/main" val="2334528175"/>
                    </a:ext>
                  </a:extLst>
                </a:gridCol>
                <a:gridCol w="355309">
                  <a:extLst>
                    <a:ext uri="{9D8B030D-6E8A-4147-A177-3AD203B41FA5}">
                      <a16:colId xmlns:a16="http://schemas.microsoft.com/office/drawing/2014/main" val="3835393650"/>
                    </a:ext>
                  </a:extLst>
                </a:gridCol>
                <a:gridCol w="355309">
                  <a:extLst>
                    <a:ext uri="{9D8B030D-6E8A-4147-A177-3AD203B41FA5}">
                      <a16:colId xmlns:a16="http://schemas.microsoft.com/office/drawing/2014/main" val="3705822644"/>
                    </a:ext>
                  </a:extLst>
                </a:gridCol>
                <a:gridCol w="355309">
                  <a:extLst>
                    <a:ext uri="{9D8B030D-6E8A-4147-A177-3AD203B41FA5}">
                      <a16:colId xmlns:a16="http://schemas.microsoft.com/office/drawing/2014/main" val="184560546"/>
                    </a:ext>
                  </a:extLst>
                </a:gridCol>
                <a:gridCol w="355309">
                  <a:extLst>
                    <a:ext uri="{9D8B030D-6E8A-4147-A177-3AD203B41FA5}">
                      <a16:colId xmlns:a16="http://schemas.microsoft.com/office/drawing/2014/main" val="712457864"/>
                    </a:ext>
                  </a:extLst>
                </a:gridCol>
                <a:gridCol w="355309">
                  <a:extLst>
                    <a:ext uri="{9D8B030D-6E8A-4147-A177-3AD203B41FA5}">
                      <a16:colId xmlns:a16="http://schemas.microsoft.com/office/drawing/2014/main" val="2719112317"/>
                    </a:ext>
                  </a:extLst>
                </a:gridCol>
                <a:gridCol w="355309">
                  <a:extLst>
                    <a:ext uri="{9D8B030D-6E8A-4147-A177-3AD203B41FA5}">
                      <a16:colId xmlns:a16="http://schemas.microsoft.com/office/drawing/2014/main" val="1610204172"/>
                    </a:ext>
                  </a:extLst>
                </a:gridCol>
                <a:gridCol w="355309">
                  <a:extLst>
                    <a:ext uri="{9D8B030D-6E8A-4147-A177-3AD203B41FA5}">
                      <a16:colId xmlns:a16="http://schemas.microsoft.com/office/drawing/2014/main" val="4106856681"/>
                    </a:ext>
                  </a:extLst>
                </a:gridCol>
                <a:gridCol w="35530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0.4%</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089310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Ingredient A Chaud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3580810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La Vache Qui Rit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1"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253286919"/>
                    </a:ext>
                  </a:extLst>
                </a:gridCol>
                <a:gridCol w="355309">
                  <a:extLst>
                    <a:ext uri="{9D8B030D-6E8A-4147-A177-3AD203B41FA5}">
                      <a16:colId xmlns:a16="http://schemas.microsoft.com/office/drawing/2014/main" val="154020430"/>
                    </a:ext>
                  </a:extLst>
                </a:gridCol>
                <a:gridCol w="355309">
                  <a:extLst>
                    <a:ext uri="{9D8B030D-6E8A-4147-A177-3AD203B41FA5}">
                      <a16:colId xmlns:a16="http://schemas.microsoft.com/office/drawing/2014/main" val="3928813835"/>
                    </a:ext>
                  </a:extLst>
                </a:gridCol>
                <a:gridCol w="355309">
                  <a:extLst>
                    <a:ext uri="{9D8B030D-6E8A-4147-A177-3AD203B41FA5}">
                      <a16:colId xmlns:a16="http://schemas.microsoft.com/office/drawing/2014/main" val="3374165474"/>
                    </a:ext>
                  </a:extLst>
                </a:gridCol>
                <a:gridCol w="355309">
                  <a:extLst>
                    <a:ext uri="{9D8B030D-6E8A-4147-A177-3AD203B41FA5}">
                      <a16:colId xmlns:a16="http://schemas.microsoft.com/office/drawing/2014/main" val="99928969"/>
                    </a:ext>
                  </a:extLst>
                </a:gridCol>
                <a:gridCol w="355309">
                  <a:extLst>
                    <a:ext uri="{9D8B030D-6E8A-4147-A177-3AD203B41FA5}">
                      <a16:colId xmlns:a16="http://schemas.microsoft.com/office/drawing/2014/main" val="127408809"/>
                    </a:ext>
                  </a:extLst>
                </a:gridCol>
                <a:gridCol w="355309">
                  <a:extLst>
                    <a:ext uri="{9D8B030D-6E8A-4147-A177-3AD203B41FA5}">
                      <a16:colId xmlns:a16="http://schemas.microsoft.com/office/drawing/2014/main" val="3994312964"/>
                    </a:ext>
                  </a:extLst>
                </a:gridCol>
                <a:gridCol w="355309">
                  <a:extLst>
                    <a:ext uri="{9D8B030D-6E8A-4147-A177-3AD203B41FA5}">
                      <a16:colId xmlns:a16="http://schemas.microsoft.com/office/drawing/2014/main" val="384709931"/>
                    </a:ext>
                  </a:extLst>
                </a:gridCol>
                <a:gridCol w="355309">
                  <a:extLst>
                    <a:ext uri="{9D8B030D-6E8A-4147-A177-3AD203B41FA5}">
                      <a16:colId xmlns:a16="http://schemas.microsoft.com/office/drawing/2014/main" val="217012177"/>
                    </a:ext>
                  </a:extLst>
                </a:gridCol>
                <a:gridCol w="355309">
                  <a:extLst>
                    <a:ext uri="{9D8B030D-6E8A-4147-A177-3AD203B41FA5}">
                      <a16:colId xmlns:a16="http://schemas.microsoft.com/office/drawing/2014/main" val="2084146792"/>
                    </a:ext>
                  </a:extLst>
                </a:gridCol>
                <a:gridCol w="355309">
                  <a:extLst>
                    <a:ext uri="{9D8B030D-6E8A-4147-A177-3AD203B41FA5}">
                      <a16:colId xmlns:a16="http://schemas.microsoft.com/office/drawing/2014/main" val="586326706"/>
                    </a:ext>
                  </a:extLst>
                </a:gridCol>
                <a:gridCol w="355309">
                  <a:extLst>
                    <a:ext uri="{9D8B030D-6E8A-4147-A177-3AD203B41FA5}">
                      <a16:colId xmlns:a16="http://schemas.microsoft.com/office/drawing/2014/main" val="786404783"/>
                    </a:ext>
                  </a:extLst>
                </a:gridCol>
                <a:gridCol w="355309">
                  <a:extLst>
                    <a:ext uri="{9D8B030D-6E8A-4147-A177-3AD203B41FA5}">
                      <a16:colId xmlns:a16="http://schemas.microsoft.com/office/drawing/2014/main" val="2712606379"/>
                    </a:ext>
                  </a:extLst>
                </a:gridCol>
                <a:gridCol w="355309">
                  <a:extLst>
                    <a:ext uri="{9D8B030D-6E8A-4147-A177-3AD203B41FA5}">
                      <a16:colId xmlns:a16="http://schemas.microsoft.com/office/drawing/2014/main" val="2334528175"/>
                    </a:ext>
                  </a:extLst>
                </a:gridCol>
                <a:gridCol w="355309">
                  <a:extLst>
                    <a:ext uri="{9D8B030D-6E8A-4147-A177-3AD203B41FA5}">
                      <a16:colId xmlns:a16="http://schemas.microsoft.com/office/drawing/2014/main" val="3835393650"/>
                    </a:ext>
                  </a:extLst>
                </a:gridCol>
                <a:gridCol w="355309">
                  <a:extLst>
                    <a:ext uri="{9D8B030D-6E8A-4147-A177-3AD203B41FA5}">
                      <a16:colId xmlns:a16="http://schemas.microsoft.com/office/drawing/2014/main" val="3705822644"/>
                    </a:ext>
                  </a:extLst>
                </a:gridCol>
                <a:gridCol w="355309">
                  <a:extLst>
                    <a:ext uri="{9D8B030D-6E8A-4147-A177-3AD203B41FA5}">
                      <a16:colId xmlns:a16="http://schemas.microsoft.com/office/drawing/2014/main" val="184560546"/>
                    </a:ext>
                  </a:extLst>
                </a:gridCol>
                <a:gridCol w="355309">
                  <a:extLst>
                    <a:ext uri="{9D8B030D-6E8A-4147-A177-3AD203B41FA5}">
                      <a16:colId xmlns:a16="http://schemas.microsoft.com/office/drawing/2014/main" val="712457864"/>
                    </a:ext>
                  </a:extLst>
                </a:gridCol>
                <a:gridCol w="355309">
                  <a:extLst>
                    <a:ext uri="{9D8B030D-6E8A-4147-A177-3AD203B41FA5}">
                      <a16:colId xmlns:a16="http://schemas.microsoft.com/office/drawing/2014/main" val="2719112317"/>
                    </a:ext>
                  </a:extLst>
                </a:gridCol>
                <a:gridCol w="355309">
                  <a:extLst>
                    <a:ext uri="{9D8B030D-6E8A-4147-A177-3AD203B41FA5}">
                      <a16:colId xmlns:a16="http://schemas.microsoft.com/office/drawing/2014/main" val="1610204172"/>
                    </a:ext>
                  </a:extLst>
                </a:gridCol>
                <a:gridCol w="355309">
                  <a:extLst>
                    <a:ext uri="{9D8B030D-6E8A-4147-A177-3AD203B41FA5}">
                      <a16:colId xmlns:a16="http://schemas.microsoft.com/office/drawing/2014/main" val="4106856681"/>
                    </a:ext>
                  </a:extLst>
                </a:gridCol>
                <a:gridCol w="35530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1%</a:t>
                      </a:r>
                      <a:r>
                        <a:rPr sz="700">
                          <a:solidFill>
                            <a:srgbClr val="575555"/>
                          </a:solidFill>
                          <a:latin typeface="Nexa Book"/>
                        </a:rPr>
                        <a:t> | </a:t>
                      </a:r>
                      <a:r>
                        <a:rPr sz="700">
                          <a:solidFill>
                            <a:srgbClr val="00A097"/>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C00000"/>
                          </a:solidFill>
                          <a:latin typeface="Nexa Book"/>
                        </a:rP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80868897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oursin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1"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253286919"/>
                    </a:ext>
                  </a:extLst>
                </a:gridCol>
                <a:gridCol w="355309">
                  <a:extLst>
                    <a:ext uri="{9D8B030D-6E8A-4147-A177-3AD203B41FA5}">
                      <a16:colId xmlns:a16="http://schemas.microsoft.com/office/drawing/2014/main" val="154020430"/>
                    </a:ext>
                  </a:extLst>
                </a:gridCol>
                <a:gridCol w="355309">
                  <a:extLst>
                    <a:ext uri="{9D8B030D-6E8A-4147-A177-3AD203B41FA5}">
                      <a16:colId xmlns:a16="http://schemas.microsoft.com/office/drawing/2014/main" val="3928813835"/>
                    </a:ext>
                  </a:extLst>
                </a:gridCol>
                <a:gridCol w="355309">
                  <a:extLst>
                    <a:ext uri="{9D8B030D-6E8A-4147-A177-3AD203B41FA5}">
                      <a16:colId xmlns:a16="http://schemas.microsoft.com/office/drawing/2014/main" val="3374165474"/>
                    </a:ext>
                  </a:extLst>
                </a:gridCol>
                <a:gridCol w="355309">
                  <a:extLst>
                    <a:ext uri="{9D8B030D-6E8A-4147-A177-3AD203B41FA5}">
                      <a16:colId xmlns:a16="http://schemas.microsoft.com/office/drawing/2014/main" val="99928969"/>
                    </a:ext>
                  </a:extLst>
                </a:gridCol>
                <a:gridCol w="355309">
                  <a:extLst>
                    <a:ext uri="{9D8B030D-6E8A-4147-A177-3AD203B41FA5}">
                      <a16:colId xmlns:a16="http://schemas.microsoft.com/office/drawing/2014/main" val="127408809"/>
                    </a:ext>
                  </a:extLst>
                </a:gridCol>
                <a:gridCol w="355309">
                  <a:extLst>
                    <a:ext uri="{9D8B030D-6E8A-4147-A177-3AD203B41FA5}">
                      <a16:colId xmlns:a16="http://schemas.microsoft.com/office/drawing/2014/main" val="3994312964"/>
                    </a:ext>
                  </a:extLst>
                </a:gridCol>
                <a:gridCol w="355309">
                  <a:extLst>
                    <a:ext uri="{9D8B030D-6E8A-4147-A177-3AD203B41FA5}">
                      <a16:colId xmlns:a16="http://schemas.microsoft.com/office/drawing/2014/main" val="384709931"/>
                    </a:ext>
                  </a:extLst>
                </a:gridCol>
                <a:gridCol w="355309">
                  <a:extLst>
                    <a:ext uri="{9D8B030D-6E8A-4147-A177-3AD203B41FA5}">
                      <a16:colId xmlns:a16="http://schemas.microsoft.com/office/drawing/2014/main" val="217012177"/>
                    </a:ext>
                  </a:extLst>
                </a:gridCol>
                <a:gridCol w="355309">
                  <a:extLst>
                    <a:ext uri="{9D8B030D-6E8A-4147-A177-3AD203B41FA5}">
                      <a16:colId xmlns:a16="http://schemas.microsoft.com/office/drawing/2014/main" val="2084146792"/>
                    </a:ext>
                  </a:extLst>
                </a:gridCol>
                <a:gridCol w="355309">
                  <a:extLst>
                    <a:ext uri="{9D8B030D-6E8A-4147-A177-3AD203B41FA5}">
                      <a16:colId xmlns:a16="http://schemas.microsoft.com/office/drawing/2014/main" val="586326706"/>
                    </a:ext>
                  </a:extLst>
                </a:gridCol>
                <a:gridCol w="355309">
                  <a:extLst>
                    <a:ext uri="{9D8B030D-6E8A-4147-A177-3AD203B41FA5}">
                      <a16:colId xmlns:a16="http://schemas.microsoft.com/office/drawing/2014/main" val="786404783"/>
                    </a:ext>
                  </a:extLst>
                </a:gridCol>
                <a:gridCol w="355309">
                  <a:extLst>
                    <a:ext uri="{9D8B030D-6E8A-4147-A177-3AD203B41FA5}">
                      <a16:colId xmlns:a16="http://schemas.microsoft.com/office/drawing/2014/main" val="2712606379"/>
                    </a:ext>
                  </a:extLst>
                </a:gridCol>
                <a:gridCol w="355309">
                  <a:extLst>
                    <a:ext uri="{9D8B030D-6E8A-4147-A177-3AD203B41FA5}">
                      <a16:colId xmlns:a16="http://schemas.microsoft.com/office/drawing/2014/main" val="2334528175"/>
                    </a:ext>
                  </a:extLst>
                </a:gridCol>
                <a:gridCol w="355309">
                  <a:extLst>
                    <a:ext uri="{9D8B030D-6E8A-4147-A177-3AD203B41FA5}">
                      <a16:colId xmlns:a16="http://schemas.microsoft.com/office/drawing/2014/main" val="3835393650"/>
                    </a:ext>
                  </a:extLst>
                </a:gridCol>
                <a:gridCol w="355309">
                  <a:extLst>
                    <a:ext uri="{9D8B030D-6E8A-4147-A177-3AD203B41FA5}">
                      <a16:colId xmlns:a16="http://schemas.microsoft.com/office/drawing/2014/main" val="3705822644"/>
                    </a:ext>
                  </a:extLst>
                </a:gridCol>
                <a:gridCol w="355309">
                  <a:extLst>
                    <a:ext uri="{9D8B030D-6E8A-4147-A177-3AD203B41FA5}">
                      <a16:colId xmlns:a16="http://schemas.microsoft.com/office/drawing/2014/main" val="184560546"/>
                    </a:ext>
                  </a:extLst>
                </a:gridCol>
                <a:gridCol w="355309">
                  <a:extLst>
                    <a:ext uri="{9D8B030D-6E8A-4147-A177-3AD203B41FA5}">
                      <a16:colId xmlns:a16="http://schemas.microsoft.com/office/drawing/2014/main" val="712457864"/>
                    </a:ext>
                  </a:extLst>
                </a:gridCol>
                <a:gridCol w="355309">
                  <a:extLst>
                    <a:ext uri="{9D8B030D-6E8A-4147-A177-3AD203B41FA5}">
                      <a16:colId xmlns:a16="http://schemas.microsoft.com/office/drawing/2014/main" val="2719112317"/>
                    </a:ext>
                  </a:extLst>
                </a:gridCol>
                <a:gridCol w="355309">
                  <a:extLst>
                    <a:ext uri="{9D8B030D-6E8A-4147-A177-3AD203B41FA5}">
                      <a16:colId xmlns:a16="http://schemas.microsoft.com/office/drawing/2014/main" val="1610204172"/>
                    </a:ext>
                  </a:extLst>
                </a:gridCol>
                <a:gridCol w="355309">
                  <a:extLst>
                    <a:ext uri="{9D8B030D-6E8A-4147-A177-3AD203B41FA5}">
                      <a16:colId xmlns:a16="http://schemas.microsoft.com/office/drawing/2014/main" val="4106856681"/>
                    </a:ext>
                  </a:extLst>
                </a:gridCol>
                <a:gridCol w="35530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8%</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3768903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el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1"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253286919"/>
                    </a:ext>
                  </a:extLst>
                </a:gridCol>
                <a:gridCol w="355309">
                  <a:extLst>
                    <a:ext uri="{9D8B030D-6E8A-4147-A177-3AD203B41FA5}">
                      <a16:colId xmlns:a16="http://schemas.microsoft.com/office/drawing/2014/main" val="154020430"/>
                    </a:ext>
                  </a:extLst>
                </a:gridCol>
                <a:gridCol w="355309">
                  <a:extLst>
                    <a:ext uri="{9D8B030D-6E8A-4147-A177-3AD203B41FA5}">
                      <a16:colId xmlns:a16="http://schemas.microsoft.com/office/drawing/2014/main" val="3928813835"/>
                    </a:ext>
                  </a:extLst>
                </a:gridCol>
                <a:gridCol w="355309">
                  <a:extLst>
                    <a:ext uri="{9D8B030D-6E8A-4147-A177-3AD203B41FA5}">
                      <a16:colId xmlns:a16="http://schemas.microsoft.com/office/drawing/2014/main" val="3374165474"/>
                    </a:ext>
                  </a:extLst>
                </a:gridCol>
                <a:gridCol w="355309">
                  <a:extLst>
                    <a:ext uri="{9D8B030D-6E8A-4147-A177-3AD203B41FA5}">
                      <a16:colId xmlns:a16="http://schemas.microsoft.com/office/drawing/2014/main" val="99928969"/>
                    </a:ext>
                  </a:extLst>
                </a:gridCol>
                <a:gridCol w="355309">
                  <a:extLst>
                    <a:ext uri="{9D8B030D-6E8A-4147-A177-3AD203B41FA5}">
                      <a16:colId xmlns:a16="http://schemas.microsoft.com/office/drawing/2014/main" val="127408809"/>
                    </a:ext>
                  </a:extLst>
                </a:gridCol>
                <a:gridCol w="355309">
                  <a:extLst>
                    <a:ext uri="{9D8B030D-6E8A-4147-A177-3AD203B41FA5}">
                      <a16:colId xmlns:a16="http://schemas.microsoft.com/office/drawing/2014/main" val="3994312964"/>
                    </a:ext>
                  </a:extLst>
                </a:gridCol>
                <a:gridCol w="355309">
                  <a:extLst>
                    <a:ext uri="{9D8B030D-6E8A-4147-A177-3AD203B41FA5}">
                      <a16:colId xmlns:a16="http://schemas.microsoft.com/office/drawing/2014/main" val="384709931"/>
                    </a:ext>
                  </a:extLst>
                </a:gridCol>
                <a:gridCol w="355309">
                  <a:extLst>
                    <a:ext uri="{9D8B030D-6E8A-4147-A177-3AD203B41FA5}">
                      <a16:colId xmlns:a16="http://schemas.microsoft.com/office/drawing/2014/main" val="217012177"/>
                    </a:ext>
                  </a:extLst>
                </a:gridCol>
                <a:gridCol w="355309">
                  <a:extLst>
                    <a:ext uri="{9D8B030D-6E8A-4147-A177-3AD203B41FA5}">
                      <a16:colId xmlns:a16="http://schemas.microsoft.com/office/drawing/2014/main" val="2084146792"/>
                    </a:ext>
                  </a:extLst>
                </a:gridCol>
                <a:gridCol w="355309">
                  <a:extLst>
                    <a:ext uri="{9D8B030D-6E8A-4147-A177-3AD203B41FA5}">
                      <a16:colId xmlns:a16="http://schemas.microsoft.com/office/drawing/2014/main" val="586326706"/>
                    </a:ext>
                  </a:extLst>
                </a:gridCol>
                <a:gridCol w="355309">
                  <a:extLst>
                    <a:ext uri="{9D8B030D-6E8A-4147-A177-3AD203B41FA5}">
                      <a16:colId xmlns:a16="http://schemas.microsoft.com/office/drawing/2014/main" val="786404783"/>
                    </a:ext>
                  </a:extLst>
                </a:gridCol>
                <a:gridCol w="355309">
                  <a:extLst>
                    <a:ext uri="{9D8B030D-6E8A-4147-A177-3AD203B41FA5}">
                      <a16:colId xmlns:a16="http://schemas.microsoft.com/office/drawing/2014/main" val="2712606379"/>
                    </a:ext>
                  </a:extLst>
                </a:gridCol>
                <a:gridCol w="355309">
                  <a:extLst>
                    <a:ext uri="{9D8B030D-6E8A-4147-A177-3AD203B41FA5}">
                      <a16:colId xmlns:a16="http://schemas.microsoft.com/office/drawing/2014/main" val="2334528175"/>
                    </a:ext>
                  </a:extLst>
                </a:gridCol>
                <a:gridCol w="355309">
                  <a:extLst>
                    <a:ext uri="{9D8B030D-6E8A-4147-A177-3AD203B41FA5}">
                      <a16:colId xmlns:a16="http://schemas.microsoft.com/office/drawing/2014/main" val="3835393650"/>
                    </a:ext>
                  </a:extLst>
                </a:gridCol>
                <a:gridCol w="355309">
                  <a:extLst>
                    <a:ext uri="{9D8B030D-6E8A-4147-A177-3AD203B41FA5}">
                      <a16:colId xmlns:a16="http://schemas.microsoft.com/office/drawing/2014/main" val="3705822644"/>
                    </a:ext>
                  </a:extLst>
                </a:gridCol>
                <a:gridCol w="355309">
                  <a:extLst>
                    <a:ext uri="{9D8B030D-6E8A-4147-A177-3AD203B41FA5}">
                      <a16:colId xmlns:a16="http://schemas.microsoft.com/office/drawing/2014/main" val="184560546"/>
                    </a:ext>
                  </a:extLst>
                </a:gridCol>
                <a:gridCol w="355309">
                  <a:extLst>
                    <a:ext uri="{9D8B030D-6E8A-4147-A177-3AD203B41FA5}">
                      <a16:colId xmlns:a16="http://schemas.microsoft.com/office/drawing/2014/main" val="712457864"/>
                    </a:ext>
                  </a:extLst>
                </a:gridCol>
                <a:gridCol w="355309">
                  <a:extLst>
                    <a:ext uri="{9D8B030D-6E8A-4147-A177-3AD203B41FA5}">
                      <a16:colId xmlns:a16="http://schemas.microsoft.com/office/drawing/2014/main" val="2719112317"/>
                    </a:ext>
                  </a:extLst>
                </a:gridCol>
                <a:gridCol w="355309">
                  <a:extLst>
                    <a:ext uri="{9D8B030D-6E8A-4147-A177-3AD203B41FA5}">
                      <a16:colId xmlns:a16="http://schemas.microsoft.com/office/drawing/2014/main" val="1610204172"/>
                    </a:ext>
                  </a:extLst>
                </a:gridCol>
                <a:gridCol w="355309">
                  <a:extLst>
                    <a:ext uri="{9D8B030D-6E8A-4147-A177-3AD203B41FA5}">
                      <a16:colId xmlns:a16="http://schemas.microsoft.com/office/drawing/2014/main" val="4106856681"/>
                    </a:ext>
                  </a:extLst>
                </a:gridCol>
                <a:gridCol w="35530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2.9%</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7.5%</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C00000"/>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8%</a:t>
                      </a:r>
                      <a:r>
                        <a:rPr sz="700">
                          <a:solidFill>
                            <a:srgbClr val="575555"/>
                          </a:solidFill>
                          <a:latin typeface="Nexa Book"/>
                        </a:rPr>
                        <a:t> | </a:t>
                      </a:r>
                      <a:r>
                        <a:rPr sz="700">
                          <a:solidFill>
                            <a:srgbClr val="C00000"/>
                          </a:solidFill>
                          <a:latin typeface="Nexa Book"/>
                        </a:rP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31483668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Kiri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8%</a:t>
                      </a:r>
                      <a:r>
                        <a:rPr sz="700">
                          <a:solidFill>
                            <a:srgbClr val="575555"/>
                          </a:solidFill>
                          <a:latin typeface="Nexa Book"/>
                        </a:rPr>
                        <a:t> | </a:t>
                      </a:r>
                      <a:r>
                        <a:rPr sz="700">
                          <a:solidFill>
                            <a:srgbClr val="00A097"/>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1215947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La Vache Qui Rit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9%</a:t>
                      </a:r>
                      <a:r>
                        <a:rPr sz="700">
                          <a:solidFill>
                            <a:srgbClr val="575555"/>
                          </a:solidFill>
                          <a:latin typeface="Nexa Book"/>
                        </a:rPr>
                        <a:t> | </a:t>
                      </a:r>
                      <a:r>
                        <a:rPr sz="700">
                          <a:solidFill>
                            <a:srgbClr val="C00000"/>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42916014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oursin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3%</a:t>
                      </a:r>
                      <a:r>
                        <a:rPr sz="700">
                          <a:solidFill>
                            <a:srgbClr val="575555"/>
                          </a:solidFill>
                          <a:latin typeface="Nexa Book"/>
                        </a:rPr>
                        <a:t> | </a:t>
                      </a:r>
                      <a:r>
                        <a:rPr sz="700">
                          <a:solidFill>
                            <a:srgbClr val="00A097"/>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426323553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el | Carrefour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27408809"/>
                    </a:ext>
                  </a:extLst>
                </a:gridCol>
                <a:gridCol w="466344">
                  <a:extLst>
                    <a:ext uri="{9D8B030D-6E8A-4147-A177-3AD203B41FA5}">
                      <a16:colId xmlns:a16="http://schemas.microsoft.com/office/drawing/2014/main" val="3994312964"/>
                    </a:ext>
                  </a:extLst>
                </a:gridCol>
                <a:gridCol w="466344">
                  <a:extLst>
                    <a:ext uri="{9D8B030D-6E8A-4147-A177-3AD203B41FA5}">
                      <a16:colId xmlns:a16="http://schemas.microsoft.com/office/drawing/2014/main" val="384709931"/>
                    </a:ext>
                  </a:extLst>
                </a:gridCol>
                <a:gridCol w="466344">
                  <a:extLst>
                    <a:ext uri="{9D8B030D-6E8A-4147-A177-3AD203B41FA5}">
                      <a16:colId xmlns:a16="http://schemas.microsoft.com/office/drawing/2014/main" val="217012177"/>
                    </a:ext>
                  </a:extLst>
                </a:gridCol>
                <a:gridCol w="466344">
                  <a:extLst>
                    <a:ext uri="{9D8B030D-6E8A-4147-A177-3AD203B41FA5}">
                      <a16:colId xmlns:a16="http://schemas.microsoft.com/office/drawing/2014/main" val="2084146792"/>
                    </a:ext>
                  </a:extLst>
                </a:gridCol>
                <a:gridCol w="466344">
                  <a:extLst>
                    <a:ext uri="{9D8B030D-6E8A-4147-A177-3AD203B41FA5}">
                      <a16:colId xmlns:a16="http://schemas.microsoft.com/office/drawing/2014/main" val="586326706"/>
                    </a:ext>
                  </a:extLst>
                </a:gridCol>
                <a:gridCol w="466344">
                  <a:extLst>
                    <a:ext uri="{9D8B030D-6E8A-4147-A177-3AD203B41FA5}">
                      <a16:colId xmlns:a16="http://schemas.microsoft.com/office/drawing/2014/main" val="786404783"/>
                    </a:ext>
                  </a:extLst>
                </a:gridCol>
                <a:gridCol w="466344">
                  <a:extLst>
                    <a:ext uri="{9D8B030D-6E8A-4147-A177-3AD203B41FA5}">
                      <a16:colId xmlns:a16="http://schemas.microsoft.com/office/drawing/2014/main" val="2712606379"/>
                    </a:ext>
                  </a:extLst>
                </a:gridCol>
                <a:gridCol w="466344">
                  <a:extLst>
                    <a:ext uri="{9D8B030D-6E8A-4147-A177-3AD203B41FA5}">
                      <a16:colId xmlns:a16="http://schemas.microsoft.com/office/drawing/2014/main" val="2334528175"/>
                    </a:ext>
                  </a:extLst>
                </a:gridCol>
                <a:gridCol w="466344">
                  <a:extLst>
                    <a:ext uri="{9D8B030D-6E8A-4147-A177-3AD203B41FA5}">
                      <a16:colId xmlns:a16="http://schemas.microsoft.com/office/drawing/2014/main" val="3835393650"/>
                    </a:ext>
                  </a:extLst>
                </a:gridCol>
                <a:gridCol w="466344">
                  <a:extLst>
                    <a:ext uri="{9D8B030D-6E8A-4147-A177-3AD203B41FA5}">
                      <a16:colId xmlns:a16="http://schemas.microsoft.com/office/drawing/2014/main" val="3705822644"/>
                    </a:ext>
                  </a:extLst>
                </a:gridCol>
                <a:gridCol w="466344">
                  <a:extLst>
                    <a:ext uri="{9D8B030D-6E8A-4147-A177-3AD203B41FA5}">
                      <a16:colId xmlns:a16="http://schemas.microsoft.com/office/drawing/2014/main" val="184560546"/>
                    </a:ext>
                  </a:extLst>
                </a:gridCol>
                <a:gridCol w="466344">
                  <a:extLst>
                    <a:ext uri="{9D8B030D-6E8A-4147-A177-3AD203B41FA5}">
                      <a16:colId xmlns:a16="http://schemas.microsoft.com/office/drawing/2014/main" val="712457864"/>
                    </a:ext>
                  </a:extLst>
                </a:gridCol>
                <a:gridCol w="466344">
                  <a:extLst>
                    <a:ext uri="{9D8B030D-6E8A-4147-A177-3AD203B41FA5}">
                      <a16:colId xmlns:a16="http://schemas.microsoft.com/office/drawing/2014/main" val="2719112317"/>
                    </a:ext>
                  </a:extLst>
                </a:gridCol>
                <a:gridCol w="466344">
                  <a:extLst>
                    <a:ext uri="{9D8B030D-6E8A-4147-A177-3AD203B41FA5}">
                      <a16:colId xmlns:a16="http://schemas.microsoft.com/office/drawing/2014/main" val="1610204172"/>
                    </a:ext>
                  </a:extLst>
                </a:gridCol>
                <a:gridCol w="466344">
                  <a:extLst>
                    <a:ext uri="{9D8B030D-6E8A-4147-A177-3AD203B41FA5}">
                      <a16:colId xmlns:a16="http://schemas.microsoft.com/office/drawing/2014/main" val="4106856681"/>
                    </a:ext>
                  </a:extLst>
                </a:gridCol>
                <a:gridCol w="46634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5.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8.3%</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1%</a:t>
                      </a:r>
                      <a:r>
                        <a:rPr sz="700">
                          <a:solidFill>
                            <a:srgbClr val="575555"/>
                          </a:solidFill>
                          <a:latin typeface="Nexa Book"/>
                        </a:rPr>
                        <a:t> | </a:t>
                      </a:r>
                      <a:r>
                        <a:rPr sz="700">
                          <a:solidFill>
                            <a:srgbClr val="C00000"/>
                          </a:solidFill>
                          <a:latin typeface="Nexa Book"/>
                        </a:rPr>
                        <a:t>-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99766347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Kiri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562750788"/>
                    </a:ext>
                  </a:extLst>
                </a:gridCol>
                <a:gridCol w="339159">
                  <a:extLst>
                    <a:ext uri="{9D8B030D-6E8A-4147-A177-3AD203B41FA5}">
                      <a16:colId xmlns:a16="http://schemas.microsoft.com/office/drawing/2014/main" val="2253286919"/>
                    </a:ext>
                  </a:extLst>
                </a:gridCol>
                <a:gridCol w="339159">
                  <a:extLst>
                    <a:ext uri="{9D8B030D-6E8A-4147-A177-3AD203B41FA5}">
                      <a16:colId xmlns:a16="http://schemas.microsoft.com/office/drawing/2014/main" val="154020430"/>
                    </a:ext>
                  </a:extLst>
                </a:gridCol>
                <a:gridCol w="339159">
                  <a:extLst>
                    <a:ext uri="{9D8B030D-6E8A-4147-A177-3AD203B41FA5}">
                      <a16:colId xmlns:a16="http://schemas.microsoft.com/office/drawing/2014/main" val="3928813835"/>
                    </a:ext>
                  </a:extLst>
                </a:gridCol>
                <a:gridCol w="339159">
                  <a:extLst>
                    <a:ext uri="{9D8B030D-6E8A-4147-A177-3AD203B41FA5}">
                      <a16:colId xmlns:a16="http://schemas.microsoft.com/office/drawing/2014/main" val="3374165474"/>
                    </a:ext>
                  </a:extLst>
                </a:gridCol>
                <a:gridCol w="339159">
                  <a:extLst>
                    <a:ext uri="{9D8B030D-6E8A-4147-A177-3AD203B41FA5}">
                      <a16:colId xmlns:a16="http://schemas.microsoft.com/office/drawing/2014/main" val="99928969"/>
                    </a:ext>
                  </a:extLst>
                </a:gridCol>
                <a:gridCol w="339159">
                  <a:extLst>
                    <a:ext uri="{9D8B030D-6E8A-4147-A177-3AD203B41FA5}">
                      <a16:colId xmlns:a16="http://schemas.microsoft.com/office/drawing/2014/main" val="127408809"/>
                    </a:ext>
                  </a:extLst>
                </a:gridCol>
                <a:gridCol w="339159">
                  <a:extLst>
                    <a:ext uri="{9D8B030D-6E8A-4147-A177-3AD203B41FA5}">
                      <a16:colId xmlns:a16="http://schemas.microsoft.com/office/drawing/2014/main" val="3994312964"/>
                    </a:ext>
                  </a:extLst>
                </a:gridCol>
                <a:gridCol w="339159">
                  <a:extLst>
                    <a:ext uri="{9D8B030D-6E8A-4147-A177-3AD203B41FA5}">
                      <a16:colId xmlns:a16="http://schemas.microsoft.com/office/drawing/2014/main" val="384709931"/>
                    </a:ext>
                  </a:extLst>
                </a:gridCol>
                <a:gridCol w="339159">
                  <a:extLst>
                    <a:ext uri="{9D8B030D-6E8A-4147-A177-3AD203B41FA5}">
                      <a16:colId xmlns:a16="http://schemas.microsoft.com/office/drawing/2014/main" val="217012177"/>
                    </a:ext>
                  </a:extLst>
                </a:gridCol>
                <a:gridCol w="339159">
                  <a:extLst>
                    <a:ext uri="{9D8B030D-6E8A-4147-A177-3AD203B41FA5}">
                      <a16:colId xmlns:a16="http://schemas.microsoft.com/office/drawing/2014/main" val="2084146792"/>
                    </a:ext>
                  </a:extLst>
                </a:gridCol>
                <a:gridCol w="339159">
                  <a:extLst>
                    <a:ext uri="{9D8B030D-6E8A-4147-A177-3AD203B41FA5}">
                      <a16:colId xmlns:a16="http://schemas.microsoft.com/office/drawing/2014/main" val="586326706"/>
                    </a:ext>
                  </a:extLst>
                </a:gridCol>
                <a:gridCol w="339159">
                  <a:extLst>
                    <a:ext uri="{9D8B030D-6E8A-4147-A177-3AD203B41FA5}">
                      <a16:colId xmlns:a16="http://schemas.microsoft.com/office/drawing/2014/main" val="786404783"/>
                    </a:ext>
                  </a:extLst>
                </a:gridCol>
                <a:gridCol w="339159">
                  <a:extLst>
                    <a:ext uri="{9D8B030D-6E8A-4147-A177-3AD203B41FA5}">
                      <a16:colId xmlns:a16="http://schemas.microsoft.com/office/drawing/2014/main" val="2712606379"/>
                    </a:ext>
                  </a:extLst>
                </a:gridCol>
                <a:gridCol w="339159">
                  <a:extLst>
                    <a:ext uri="{9D8B030D-6E8A-4147-A177-3AD203B41FA5}">
                      <a16:colId xmlns:a16="http://schemas.microsoft.com/office/drawing/2014/main" val="2334528175"/>
                    </a:ext>
                  </a:extLst>
                </a:gridCol>
                <a:gridCol w="339159">
                  <a:extLst>
                    <a:ext uri="{9D8B030D-6E8A-4147-A177-3AD203B41FA5}">
                      <a16:colId xmlns:a16="http://schemas.microsoft.com/office/drawing/2014/main" val="3835393650"/>
                    </a:ext>
                  </a:extLst>
                </a:gridCol>
                <a:gridCol w="339159">
                  <a:extLst>
                    <a:ext uri="{9D8B030D-6E8A-4147-A177-3AD203B41FA5}">
                      <a16:colId xmlns:a16="http://schemas.microsoft.com/office/drawing/2014/main" val="3705822644"/>
                    </a:ext>
                  </a:extLst>
                </a:gridCol>
                <a:gridCol w="339159">
                  <a:extLst>
                    <a:ext uri="{9D8B030D-6E8A-4147-A177-3AD203B41FA5}">
                      <a16:colId xmlns:a16="http://schemas.microsoft.com/office/drawing/2014/main" val="184560546"/>
                    </a:ext>
                  </a:extLst>
                </a:gridCol>
                <a:gridCol w="339159">
                  <a:extLst>
                    <a:ext uri="{9D8B030D-6E8A-4147-A177-3AD203B41FA5}">
                      <a16:colId xmlns:a16="http://schemas.microsoft.com/office/drawing/2014/main" val="712457864"/>
                    </a:ext>
                  </a:extLst>
                </a:gridCol>
                <a:gridCol w="339159">
                  <a:extLst>
                    <a:ext uri="{9D8B030D-6E8A-4147-A177-3AD203B41FA5}">
                      <a16:colId xmlns:a16="http://schemas.microsoft.com/office/drawing/2014/main" val="2719112317"/>
                    </a:ext>
                  </a:extLst>
                </a:gridCol>
                <a:gridCol w="339159">
                  <a:extLst>
                    <a:ext uri="{9D8B030D-6E8A-4147-A177-3AD203B41FA5}">
                      <a16:colId xmlns:a16="http://schemas.microsoft.com/office/drawing/2014/main" val="1610204172"/>
                    </a:ext>
                  </a:extLst>
                </a:gridCol>
                <a:gridCol w="339159">
                  <a:extLst>
                    <a:ext uri="{9D8B030D-6E8A-4147-A177-3AD203B41FA5}">
                      <a16:colId xmlns:a16="http://schemas.microsoft.com/office/drawing/2014/main" val="4106856681"/>
                    </a:ext>
                  </a:extLst>
                </a:gridCol>
                <a:gridCol w="33915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4%</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9621347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La Vache Qui Rit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562750788"/>
                    </a:ext>
                  </a:extLst>
                </a:gridCol>
                <a:gridCol w="339159">
                  <a:extLst>
                    <a:ext uri="{9D8B030D-6E8A-4147-A177-3AD203B41FA5}">
                      <a16:colId xmlns:a16="http://schemas.microsoft.com/office/drawing/2014/main" val="2253286919"/>
                    </a:ext>
                  </a:extLst>
                </a:gridCol>
                <a:gridCol w="339159">
                  <a:extLst>
                    <a:ext uri="{9D8B030D-6E8A-4147-A177-3AD203B41FA5}">
                      <a16:colId xmlns:a16="http://schemas.microsoft.com/office/drawing/2014/main" val="154020430"/>
                    </a:ext>
                  </a:extLst>
                </a:gridCol>
                <a:gridCol w="339159">
                  <a:extLst>
                    <a:ext uri="{9D8B030D-6E8A-4147-A177-3AD203B41FA5}">
                      <a16:colId xmlns:a16="http://schemas.microsoft.com/office/drawing/2014/main" val="3928813835"/>
                    </a:ext>
                  </a:extLst>
                </a:gridCol>
                <a:gridCol w="339159">
                  <a:extLst>
                    <a:ext uri="{9D8B030D-6E8A-4147-A177-3AD203B41FA5}">
                      <a16:colId xmlns:a16="http://schemas.microsoft.com/office/drawing/2014/main" val="3374165474"/>
                    </a:ext>
                  </a:extLst>
                </a:gridCol>
                <a:gridCol w="339159">
                  <a:extLst>
                    <a:ext uri="{9D8B030D-6E8A-4147-A177-3AD203B41FA5}">
                      <a16:colId xmlns:a16="http://schemas.microsoft.com/office/drawing/2014/main" val="99928969"/>
                    </a:ext>
                  </a:extLst>
                </a:gridCol>
                <a:gridCol w="339159">
                  <a:extLst>
                    <a:ext uri="{9D8B030D-6E8A-4147-A177-3AD203B41FA5}">
                      <a16:colId xmlns:a16="http://schemas.microsoft.com/office/drawing/2014/main" val="127408809"/>
                    </a:ext>
                  </a:extLst>
                </a:gridCol>
                <a:gridCol w="339159">
                  <a:extLst>
                    <a:ext uri="{9D8B030D-6E8A-4147-A177-3AD203B41FA5}">
                      <a16:colId xmlns:a16="http://schemas.microsoft.com/office/drawing/2014/main" val="3994312964"/>
                    </a:ext>
                  </a:extLst>
                </a:gridCol>
                <a:gridCol w="339159">
                  <a:extLst>
                    <a:ext uri="{9D8B030D-6E8A-4147-A177-3AD203B41FA5}">
                      <a16:colId xmlns:a16="http://schemas.microsoft.com/office/drawing/2014/main" val="384709931"/>
                    </a:ext>
                  </a:extLst>
                </a:gridCol>
                <a:gridCol w="339159">
                  <a:extLst>
                    <a:ext uri="{9D8B030D-6E8A-4147-A177-3AD203B41FA5}">
                      <a16:colId xmlns:a16="http://schemas.microsoft.com/office/drawing/2014/main" val="217012177"/>
                    </a:ext>
                  </a:extLst>
                </a:gridCol>
                <a:gridCol w="339159">
                  <a:extLst>
                    <a:ext uri="{9D8B030D-6E8A-4147-A177-3AD203B41FA5}">
                      <a16:colId xmlns:a16="http://schemas.microsoft.com/office/drawing/2014/main" val="2084146792"/>
                    </a:ext>
                  </a:extLst>
                </a:gridCol>
                <a:gridCol w="339159">
                  <a:extLst>
                    <a:ext uri="{9D8B030D-6E8A-4147-A177-3AD203B41FA5}">
                      <a16:colId xmlns:a16="http://schemas.microsoft.com/office/drawing/2014/main" val="586326706"/>
                    </a:ext>
                  </a:extLst>
                </a:gridCol>
                <a:gridCol w="339159">
                  <a:extLst>
                    <a:ext uri="{9D8B030D-6E8A-4147-A177-3AD203B41FA5}">
                      <a16:colId xmlns:a16="http://schemas.microsoft.com/office/drawing/2014/main" val="786404783"/>
                    </a:ext>
                  </a:extLst>
                </a:gridCol>
                <a:gridCol w="339159">
                  <a:extLst>
                    <a:ext uri="{9D8B030D-6E8A-4147-A177-3AD203B41FA5}">
                      <a16:colId xmlns:a16="http://schemas.microsoft.com/office/drawing/2014/main" val="2712606379"/>
                    </a:ext>
                  </a:extLst>
                </a:gridCol>
                <a:gridCol w="339159">
                  <a:extLst>
                    <a:ext uri="{9D8B030D-6E8A-4147-A177-3AD203B41FA5}">
                      <a16:colId xmlns:a16="http://schemas.microsoft.com/office/drawing/2014/main" val="2334528175"/>
                    </a:ext>
                  </a:extLst>
                </a:gridCol>
                <a:gridCol w="339159">
                  <a:extLst>
                    <a:ext uri="{9D8B030D-6E8A-4147-A177-3AD203B41FA5}">
                      <a16:colId xmlns:a16="http://schemas.microsoft.com/office/drawing/2014/main" val="3835393650"/>
                    </a:ext>
                  </a:extLst>
                </a:gridCol>
                <a:gridCol w="339159">
                  <a:extLst>
                    <a:ext uri="{9D8B030D-6E8A-4147-A177-3AD203B41FA5}">
                      <a16:colId xmlns:a16="http://schemas.microsoft.com/office/drawing/2014/main" val="3705822644"/>
                    </a:ext>
                  </a:extLst>
                </a:gridCol>
                <a:gridCol w="339159">
                  <a:extLst>
                    <a:ext uri="{9D8B030D-6E8A-4147-A177-3AD203B41FA5}">
                      <a16:colId xmlns:a16="http://schemas.microsoft.com/office/drawing/2014/main" val="184560546"/>
                    </a:ext>
                  </a:extLst>
                </a:gridCol>
                <a:gridCol w="339159">
                  <a:extLst>
                    <a:ext uri="{9D8B030D-6E8A-4147-A177-3AD203B41FA5}">
                      <a16:colId xmlns:a16="http://schemas.microsoft.com/office/drawing/2014/main" val="712457864"/>
                    </a:ext>
                  </a:extLst>
                </a:gridCol>
                <a:gridCol w="339159">
                  <a:extLst>
                    <a:ext uri="{9D8B030D-6E8A-4147-A177-3AD203B41FA5}">
                      <a16:colId xmlns:a16="http://schemas.microsoft.com/office/drawing/2014/main" val="2719112317"/>
                    </a:ext>
                  </a:extLst>
                </a:gridCol>
                <a:gridCol w="339159">
                  <a:extLst>
                    <a:ext uri="{9D8B030D-6E8A-4147-A177-3AD203B41FA5}">
                      <a16:colId xmlns:a16="http://schemas.microsoft.com/office/drawing/2014/main" val="1610204172"/>
                    </a:ext>
                  </a:extLst>
                </a:gridCol>
                <a:gridCol w="339159">
                  <a:extLst>
                    <a:ext uri="{9D8B030D-6E8A-4147-A177-3AD203B41FA5}">
                      <a16:colId xmlns:a16="http://schemas.microsoft.com/office/drawing/2014/main" val="4106856681"/>
                    </a:ext>
                  </a:extLst>
                </a:gridCol>
                <a:gridCol w="33915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0%</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2384887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oursin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562750788"/>
                    </a:ext>
                  </a:extLst>
                </a:gridCol>
                <a:gridCol w="339159">
                  <a:extLst>
                    <a:ext uri="{9D8B030D-6E8A-4147-A177-3AD203B41FA5}">
                      <a16:colId xmlns:a16="http://schemas.microsoft.com/office/drawing/2014/main" val="2253286919"/>
                    </a:ext>
                  </a:extLst>
                </a:gridCol>
                <a:gridCol w="339159">
                  <a:extLst>
                    <a:ext uri="{9D8B030D-6E8A-4147-A177-3AD203B41FA5}">
                      <a16:colId xmlns:a16="http://schemas.microsoft.com/office/drawing/2014/main" val="154020430"/>
                    </a:ext>
                  </a:extLst>
                </a:gridCol>
                <a:gridCol w="339159">
                  <a:extLst>
                    <a:ext uri="{9D8B030D-6E8A-4147-A177-3AD203B41FA5}">
                      <a16:colId xmlns:a16="http://schemas.microsoft.com/office/drawing/2014/main" val="3928813835"/>
                    </a:ext>
                  </a:extLst>
                </a:gridCol>
                <a:gridCol w="339159">
                  <a:extLst>
                    <a:ext uri="{9D8B030D-6E8A-4147-A177-3AD203B41FA5}">
                      <a16:colId xmlns:a16="http://schemas.microsoft.com/office/drawing/2014/main" val="3374165474"/>
                    </a:ext>
                  </a:extLst>
                </a:gridCol>
                <a:gridCol w="339159">
                  <a:extLst>
                    <a:ext uri="{9D8B030D-6E8A-4147-A177-3AD203B41FA5}">
                      <a16:colId xmlns:a16="http://schemas.microsoft.com/office/drawing/2014/main" val="99928969"/>
                    </a:ext>
                  </a:extLst>
                </a:gridCol>
                <a:gridCol w="339159">
                  <a:extLst>
                    <a:ext uri="{9D8B030D-6E8A-4147-A177-3AD203B41FA5}">
                      <a16:colId xmlns:a16="http://schemas.microsoft.com/office/drawing/2014/main" val="127408809"/>
                    </a:ext>
                  </a:extLst>
                </a:gridCol>
                <a:gridCol w="339159">
                  <a:extLst>
                    <a:ext uri="{9D8B030D-6E8A-4147-A177-3AD203B41FA5}">
                      <a16:colId xmlns:a16="http://schemas.microsoft.com/office/drawing/2014/main" val="3994312964"/>
                    </a:ext>
                  </a:extLst>
                </a:gridCol>
                <a:gridCol w="339159">
                  <a:extLst>
                    <a:ext uri="{9D8B030D-6E8A-4147-A177-3AD203B41FA5}">
                      <a16:colId xmlns:a16="http://schemas.microsoft.com/office/drawing/2014/main" val="384709931"/>
                    </a:ext>
                  </a:extLst>
                </a:gridCol>
                <a:gridCol w="339159">
                  <a:extLst>
                    <a:ext uri="{9D8B030D-6E8A-4147-A177-3AD203B41FA5}">
                      <a16:colId xmlns:a16="http://schemas.microsoft.com/office/drawing/2014/main" val="217012177"/>
                    </a:ext>
                  </a:extLst>
                </a:gridCol>
                <a:gridCol w="339159">
                  <a:extLst>
                    <a:ext uri="{9D8B030D-6E8A-4147-A177-3AD203B41FA5}">
                      <a16:colId xmlns:a16="http://schemas.microsoft.com/office/drawing/2014/main" val="2084146792"/>
                    </a:ext>
                  </a:extLst>
                </a:gridCol>
                <a:gridCol w="339159">
                  <a:extLst>
                    <a:ext uri="{9D8B030D-6E8A-4147-A177-3AD203B41FA5}">
                      <a16:colId xmlns:a16="http://schemas.microsoft.com/office/drawing/2014/main" val="586326706"/>
                    </a:ext>
                  </a:extLst>
                </a:gridCol>
                <a:gridCol w="339159">
                  <a:extLst>
                    <a:ext uri="{9D8B030D-6E8A-4147-A177-3AD203B41FA5}">
                      <a16:colId xmlns:a16="http://schemas.microsoft.com/office/drawing/2014/main" val="786404783"/>
                    </a:ext>
                  </a:extLst>
                </a:gridCol>
                <a:gridCol w="339159">
                  <a:extLst>
                    <a:ext uri="{9D8B030D-6E8A-4147-A177-3AD203B41FA5}">
                      <a16:colId xmlns:a16="http://schemas.microsoft.com/office/drawing/2014/main" val="2712606379"/>
                    </a:ext>
                  </a:extLst>
                </a:gridCol>
                <a:gridCol w="339159">
                  <a:extLst>
                    <a:ext uri="{9D8B030D-6E8A-4147-A177-3AD203B41FA5}">
                      <a16:colId xmlns:a16="http://schemas.microsoft.com/office/drawing/2014/main" val="2334528175"/>
                    </a:ext>
                  </a:extLst>
                </a:gridCol>
                <a:gridCol w="339159">
                  <a:extLst>
                    <a:ext uri="{9D8B030D-6E8A-4147-A177-3AD203B41FA5}">
                      <a16:colId xmlns:a16="http://schemas.microsoft.com/office/drawing/2014/main" val="3835393650"/>
                    </a:ext>
                  </a:extLst>
                </a:gridCol>
                <a:gridCol w="339159">
                  <a:extLst>
                    <a:ext uri="{9D8B030D-6E8A-4147-A177-3AD203B41FA5}">
                      <a16:colId xmlns:a16="http://schemas.microsoft.com/office/drawing/2014/main" val="3705822644"/>
                    </a:ext>
                  </a:extLst>
                </a:gridCol>
                <a:gridCol w="339159">
                  <a:extLst>
                    <a:ext uri="{9D8B030D-6E8A-4147-A177-3AD203B41FA5}">
                      <a16:colId xmlns:a16="http://schemas.microsoft.com/office/drawing/2014/main" val="184560546"/>
                    </a:ext>
                  </a:extLst>
                </a:gridCol>
                <a:gridCol w="339159">
                  <a:extLst>
                    <a:ext uri="{9D8B030D-6E8A-4147-A177-3AD203B41FA5}">
                      <a16:colId xmlns:a16="http://schemas.microsoft.com/office/drawing/2014/main" val="712457864"/>
                    </a:ext>
                  </a:extLst>
                </a:gridCol>
                <a:gridCol w="339159">
                  <a:extLst>
                    <a:ext uri="{9D8B030D-6E8A-4147-A177-3AD203B41FA5}">
                      <a16:colId xmlns:a16="http://schemas.microsoft.com/office/drawing/2014/main" val="2719112317"/>
                    </a:ext>
                  </a:extLst>
                </a:gridCol>
                <a:gridCol w="339159">
                  <a:extLst>
                    <a:ext uri="{9D8B030D-6E8A-4147-A177-3AD203B41FA5}">
                      <a16:colId xmlns:a16="http://schemas.microsoft.com/office/drawing/2014/main" val="1610204172"/>
                    </a:ext>
                  </a:extLst>
                </a:gridCol>
                <a:gridCol w="339159">
                  <a:extLst>
                    <a:ext uri="{9D8B030D-6E8A-4147-A177-3AD203B41FA5}">
                      <a16:colId xmlns:a16="http://schemas.microsoft.com/office/drawing/2014/main" val="4106856681"/>
                    </a:ext>
                  </a:extLst>
                </a:gridCol>
                <a:gridCol w="33915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C00000"/>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935700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Ingredient A Chaud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22302363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gment Value Sales &amp; Avg Price Per Kg | Total Fromage | Bel | Intermarche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0"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1562750788"/>
                    </a:ext>
                  </a:extLst>
                </a:gridCol>
                <a:gridCol w="339159">
                  <a:extLst>
                    <a:ext uri="{9D8B030D-6E8A-4147-A177-3AD203B41FA5}">
                      <a16:colId xmlns:a16="http://schemas.microsoft.com/office/drawing/2014/main" val="2253286919"/>
                    </a:ext>
                  </a:extLst>
                </a:gridCol>
                <a:gridCol w="339159">
                  <a:extLst>
                    <a:ext uri="{9D8B030D-6E8A-4147-A177-3AD203B41FA5}">
                      <a16:colId xmlns:a16="http://schemas.microsoft.com/office/drawing/2014/main" val="154020430"/>
                    </a:ext>
                  </a:extLst>
                </a:gridCol>
                <a:gridCol w="339159">
                  <a:extLst>
                    <a:ext uri="{9D8B030D-6E8A-4147-A177-3AD203B41FA5}">
                      <a16:colId xmlns:a16="http://schemas.microsoft.com/office/drawing/2014/main" val="3928813835"/>
                    </a:ext>
                  </a:extLst>
                </a:gridCol>
                <a:gridCol w="339159">
                  <a:extLst>
                    <a:ext uri="{9D8B030D-6E8A-4147-A177-3AD203B41FA5}">
                      <a16:colId xmlns:a16="http://schemas.microsoft.com/office/drawing/2014/main" val="3374165474"/>
                    </a:ext>
                  </a:extLst>
                </a:gridCol>
                <a:gridCol w="339159">
                  <a:extLst>
                    <a:ext uri="{9D8B030D-6E8A-4147-A177-3AD203B41FA5}">
                      <a16:colId xmlns:a16="http://schemas.microsoft.com/office/drawing/2014/main" val="99928969"/>
                    </a:ext>
                  </a:extLst>
                </a:gridCol>
                <a:gridCol w="339159">
                  <a:extLst>
                    <a:ext uri="{9D8B030D-6E8A-4147-A177-3AD203B41FA5}">
                      <a16:colId xmlns:a16="http://schemas.microsoft.com/office/drawing/2014/main" val="127408809"/>
                    </a:ext>
                  </a:extLst>
                </a:gridCol>
                <a:gridCol w="339159">
                  <a:extLst>
                    <a:ext uri="{9D8B030D-6E8A-4147-A177-3AD203B41FA5}">
                      <a16:colId xmlns:a16="http://schemas.microsoft.com/office/drawing/2014/main" val="3994312964"/>
                    </a:ext>
                  </a:extLst>
                </a:gridCol>
                <a:gridCol w="339159">
                  <a:extLst>
                    <a:ext uri="{9D8B030D-6E8A-4147-A177-3AD203B41FA5}">
                      <a16:colId xmlns:a16="http://schemas.microsoft.com/office/drawing/2014/main" val="384709931"/>
                    </a:ext>
                  </a:extLst>
                </a:gridCol>
                <a:gridCol w="339159">
                  <a:extLst>
                    <a:ext uri="{9D8B030D-6E8A-4147-A177-3AD203B41FA5}">
                      <a16:colId xmlns:a16="http://schemas.microsoft.com/office/drawing/2014/main" val="217012177"/>
                    </a:ext>
                  </a:extLst>
                </a:gridCol>
                <a:gridCol w="339159">
                  <a:extLst>
                    <a:ext uri="{9D8B030D-6E8A-4147-A177-3AD203B41FA5}">
                      <a16:colId xmlns:a16="http://schemas.microsoft.com/office/drawing/2014/main" val="2084146792"/>
                    </a:ext>
                  </a:extLst>
                </a:gridCol>
                <a:gridCol w="339159">
                  <a:extLst>
                    <a:ext uri="{9D8B030D-6E8A-4147-A177-3AD203B41FA5}">
                      <a16:colId xmlns:a16="http://schemas.microsoft.com/office/drawing/2014/main" val="586326706"/>
                    </a:ext>
                  </a:extLst>
                </a:gridCol>
                <a:gridCol w="339159">
                  <a:extLst>
                    <a:ext uri="{9D8B030D-6E8A-4147-A177-3AD203B41FA5}">
                      <a16:colId xmlns:a16="http://schemas.microsoft.com/office/drawing/2014/main" val="786404783"/>
                    </a:ext>
                  </a:extLst>
                </a:gridCol>
                <a:gridCol w="339159">
                  <a:extLst>
                    <a:ext uri="{9D8B030D-6E8A-4147-A177-3AD203B41FA5}">
                      <a16:colId xmlns:a16="http://schemas.microsoft.com/office/drawing/2014/main" val="2712606379"/>
                    </a:ext>
                  </a:extLst>
                </a:gridCol>
                <a:gridCol w="339159">
                  <a:extLst>
                    <a:ext uri="{9D8B030D-6E8A-4147-A177-3AD203B41FA5}">
                      <a16:colId xmlns:a16="http://schemas.microsoft.com/office/drawing/2014/main" val="2334528175"/>
                    </a:ext>
                  </a:extLst>
                </a:gridCol>
                <a:gridCol w="339159">
                  <a:extLst>
                    <a:ext uri="{9D8B030D-6E8A-4147-A177-3AD203B41FA5}">
                      <a16:colId xmlns:a16="http://schemas.microsoft.com/office/drawing/2014/main" val="3835393650"/>
                    </a:ext>
                  </a:extLst>
                </a:gridCol>
                <a:gridCol w="339159">
                  <a:extLst>
                    <a:ext uri="{9D8B030D-6E8A-4147-A177-3AD203B41FA5}">
                      <a16:colId xmlns:a16="http://schemas.microsoft.com/office/drawing/2014/main" val="3705822644"/>
                    </a:ext>
                  </a:extLst>
                </a:gridCol>
                <a:gridCol w="339159">
                  <a:extLst>
                    <a:ext uri="{9D8B030D-6E8A-4147-A177-3AD203B41FA5}">
                      <a16:colId xmlns:a16="http://schemas.microsoft.com/office/drawing/2014/main" val="184560546"/>
                    </a:ext>
                  </a:extLst>
                </a:gridCol>
                <a:gridCol w="339159">
                  <a:extLst>
                    <a:ext uri="{9D8B030D-6E8A-4147-A177-3AD203B41FA5}">
                      <a16:colId xmlns:a16="http://schemas.microsoft.com/office/drawing/2014/main" val="712457864"/>
                    </a:ext>
                  </a:extLst>
                </a:gridCol>
                <a:gridCol w="339159">
                  <a:extLst>
                    <a:ext uri="{9D8B030D-6E8A-4147-A177-3AD203B41FA5}">
                      <a16:colId xmlns:a16="http://schemas.microsoft.com/office/drawing/2014/main" val="2719112317"/>
                    </a:ext>
                  </a:extLst>
                </a:gridCol>
                <a:gridCol w="339159">
                  <a:extLst>
                    <a:ext uri="{9D8B030D-6E8A-4147-A177-3AD203B41FA5}">
                      <a16:colId xmlns:a16="http://schemas.microsoft.com/office/drawing/2014/main" val="1610204172"/>
                    </a:ext>
                  </a:extLst>
                </a:gridCol>
                <a:gridCol w="339159">
                  <a:extLst>
                    <a:ext uri="{9D8B030D-6E8A-4147-A177-3AD203B41FA5}">
                      <a16:colId xmlns:a16="http://schemas.microsoft.com/office/drawing/2014/main" val="4106856681"/>
                    </a:ext>
                  </a:extLst>
                </a:gridCol>
                <a:gridCol w="339159">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gment WoB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gment Avg Price Index</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9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4.0%</a:t>
                      </a:r>
                      <a:r>
                        <a:rPr sz="700">
                          <a:solidFill>
                            <a:srgbClr val="575555"/>
                          </a:solidFill>
                          <a:latin typeface="Nexa Book"/>
                        </a:rPr>
                        <a:t> | </a:t>
                      </a:r>
                      <a:r>
                        <a:rPr sz="700">
                          <a:solidFill>
                            <a:srgbClr val="C00000"/>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2%</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5%</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4%</a:t>
                      </a:r>
                      <a:r>
                        <a:rPr sz="700">
                          <a:solidFill>
                            <a:srgbClr val="575555"/>
                          </a:solidFill>
                          <a:latin typeface="Nexa Book"/>
                        </a:rPr>
                        <a:t> | </a:t>
                      </a:r>
                      <a:r>
                        <a:rPr sz="700">
                          <a:solidFill>
                            <a:srgbClr val="C00000"/>
                          </a:solidFill>
                          <a:latin typeface="Nexa Book"/>
                        </a:rP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5%</a:t>
                      </a:r>
                      <a:r>
                        <a:rPr sz="700">
                          <a:solidFill>
                            <a:srgbClr val="575555"/>
                          </a:solidFill>
                          <a:latin typeface="Nexa Book"/>
                        </a:rPr>
                        <a:t> | </a:t>
                      </a:r>
                      <a:r>
                        <a:rPr sz="700">
                          <a:solidFill>
                            <a:srgbClr val="00A097"/>
                          </a:solidFill>
                          <a:latin typeface="Nexa Book"/>
                        </a:rPr>
                        <a:t>+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8.8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7.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41752949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Total Fromage | Kiri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9%</a:t>
                      </a:r>
                      <a:r>
                        <a:rPr sz="700">
                          <a:solidFill>
                            <a:srgbClr val="575555"/>
                          </a:solidFill>
                          <a:latin typeface="Nexa Book"/>
                        </a:rPr>
                        <a:t> | </a:t>
                      </a:r>
                      <a:r>
                        <a:rPr sz="700">
                          <a:solidFill>
                            <a:srgbClr val="00A097"/>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5%</a:t>
                      </a:r>
                      <a:r>
                        <a:rPr sz="700">
                          <a:solidFill>
                            <a:srgbClr val="575555"/>
                          </a:solidFill>
                          <a:latin typeface="Nexa Book"/>
                        </a:rPr>
                        <a:t> | </a:t>
                      </a:r>
                      <a:r>
                        <a:rPr sz="700">
                          <a:solidFill>
                            <a:srgbClr val="00A097"/>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3.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8881740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Total Fromage | La Vache Qui Rit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a:t>
                      </a:r>
                      <a:r>
                        <a:rPr sz="700">
                          <a:solidFill>
                            <a:srgbClr val="575555"/>
                          </a:solidFill>
                          <a:latin typeface="Nexa Book"/>
                        </a:rPr>
                        <a:t> | </a:t>
                      </a:r>
                      <a:r>
                        <a:rPr sz="700">
                          <a:solidFill>
                            <a:srgbClr val="00A097"/>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42149287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Total Fromage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7%</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5%</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00A097"/>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7.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55609876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Total Fromage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5%</a:t>
                      </a:r>
                      <a:r>
                        <a:rPr sz="700">
                          <a:solidFill>
                            <a:srgbClr val="575555"/>
                          </a:solidFill>
                          <a:latin typeface="Nexa Book"/>
                        </a:rPr>
                        <a:t> | </a:t>
                      </a:r>
                      <a:r>
                        <a:rPr sz="700">
                          <a:solidFill>
                            <a:srgbClr val="00A097"/>
                          </a:solidFill>
                          <a:latin typeface="Nexa Book"/>
                        </a:rP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3%</a:t>
                      </a:r>
                      <a:r>
                        <a:rPr sz="700">
                          <a:solidFill>
                            <a:srgbClr val="575555"/>
                          </a:solidFill>
                          <a:latin typeface="Nexa Book"/>
                        </a:rPr>
                        <a:t> | </a:t>
                      </a:r>
                      <a:r>
                        <a:rPr sz="700">
                          <a:solidFill>
                            <a:srgbClr val="00A097"/>
                          </a:solidFill>
                          <a:latin typeface="Nexa Book"/>
                        </a:rPr>
                        <a:t>+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4.3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7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4151428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oft Cheese | Kiri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6%</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3.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4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3561581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oft Cheese | La Vache Qui Rit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3.3%</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89394309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oft Cheese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9%</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4%</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2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54367200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oft Cheese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6%</a:t>
                      </a:r>
                      <a:r>
                        <a:rPr sz="700">
                          <a:solidFill>
                            <a:srgbClr val="575555"/>
                          </a:solidFill>
                          <a:latin typeface="Nexa Book"/>
                        </a:rPr>
                        <a:t> | </a:t>
                      </a:r>
                      <a:r>
                        <a:rPr sz="700">
                          <a:solidFill>
                            <a:srgbClr val="C00000"/>
                          </a:solidFill>
                          <a:latin typeface="Nexa Book"/>
                        </a:rPr>
                        <a:t>-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1%</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3.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68534087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Aperitif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8.8%</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8%</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35.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4.6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740882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nfant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1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73176962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Aperitif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67.5%</a:t>
                      </a:r>
                      <a:r>
                        <a:rPr sz="700">
                          <a:solidFill>
                            <a:srgbClr val="575555"/>
                          </a:solidFill>
                          <a:latin typeface="Nexa Book"/>
                        </a:rPr>
                        <a:t> | </a:t>
                      </a:r>
                      <a:r>
                        <a:rPr sz="700">
                          <a:solidFill>
                            <a:srgbClr val="C00000"/>
                          </a:solidFill>
                          <a:latin typeface="Nexa Book"/>
                        </a:rPr>
                        <a:t>-3.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3%</a:t>
                      </a:r>
                      <a:r>
                        <a:rPr sz="700">
                          <a:solidFill>
                            <a:srgbClr val="575555"/>
                          </a:solidFill>
                          <a:latin typeface="Nexa Book"/>
                        </a:rPr>
                        <a:t> | </a:t>
                      </a:r>
                      <a:r>
                        <a:rPr sz="700">
                          <a:solidFill>
                            <a:srgbClr val="00A097"/>
                          </a:solidFill>
                          <a:latin typeface="Nexa Book"/>
                        </a:rPr>
                        <a:t>+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69.4%</a:t>
                      </a:r>
                      <a:r>
                        <a:rPr sz="700">
                          <a:solidFill>
                            <a:srgbClr val="575555"/>
                          </a:solidFill>
                          <a:latin typeface="Nexa Book"/>
                        </a:rPr>
                        <a:t> | </a:t>
                      </a:r>
                      <a:r>
                        <a:rPr sz="700">
                          <a:solidFill>
                            <a:srgbClr val="C00000"/>
                          </a:solidFill>
                          <a:latin typeface="Nexa Book"/>
                        </a:rP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5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4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4479315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gredient A Chaud | La Vache Qui Rit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C00000"/>
                          </a:solidFill>
                          <a:latin typeface="Nexa Book"/>
                        </a:rP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33725117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gredient A Chaud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35852989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Ingredient A Chaud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C00000"/>
                          </a:solidFill>
                          <a:latin typeface="Nexa Book"/>
                        </a:rPr>
                        <a:t>-4.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3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89120193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nfant | Kiri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0.4%</a:t>
                      </a:r>
                      <a:r>
                        <a:rPr sz="700">
                          <a:solidFill>
                            <a:srgbClr val="575555"/>
                          </a:solidFill>
                          <a:latin typeface="Nexa Book"/>
                        </a:rPr>
                        <a:t> | </a:t>
                      </a:r>
                      <a:r>
                        <a:rPr sz="700">
                          <a:solidFill>
                            <a:srgbClr val="575555"/>
                          </a:solidFill>
                          <a:latin typeface="Nexa Book"/>
                        </a:rPr>
                        <a:t>+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2.8%</a:t>
                      </a:r>
                      <a:r>
                        <a:rPr sz="700">
                          <a:solidFill>
                            <a:srgbClr val="575555"/>
                          </a:solidFill>
                          <a:latin typeface="Nexa Book"/>
                        </a:rPr>
                        <a:t> | </a:t>
                      </a:r>
                      <a:r>
                        <a:rPr sz="700">
                          <a:solidFill>
                            <a:srgbClr val="00A097"/>
                          </a:solidFill>
                          <a:latin typeface="Nexa Book"/>
                        </a:rPr>
                        <a:t>+1.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4%</a:t>
                      </a:r>
                      <a:r>
                        <a:rPr sz="700">
                          <a:solidFill>
                            <a:srgbClr val="575555"/>
                          </a:solidFill>
                          <a:latin typeface="Nexa Book"/>
                        </a:rPr>
                        <a:t> | </a:t>
                      </a:r>
                      <a:r>
                        <a:rPr sz="700">
                          <a:solidFill>
                            <a:srgbClr val="00A097"/>
                          </a:solidFill>
                          <a:latin typeface="Nexa Book"/>
                        </a:rPr>
                        <a:t>+1.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2.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47662102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nfant | La Vache Qui Rit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26.1%</a:t>
                      </a:r>
                      <a:r>
                        <a:rPr sz="700">
                          <a:solidFill>
                            <a:srgbClr val="575555"/>
                          </a:solidFill>
                          <a:latin typeface="Nexa Book"/>
                        </a:rPr>
                        <a:t> | </a:t>
                      </a:r>
                      <a:r>
                        <a:rPr sz="700">
                          <a:solidFill>
                            <a:srgbClr val="00A097"/>
                          </a:solidFill>
                          <a:latin typeface="Nexa Book"/>
                        </a:rPr>
                        <a:t>+1.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7.9%</a:t>
                      </a:r>
                      <a:r>
                        <a:rPr sz="700">
                          <a:solidFill>
                            <a:srgbClr val="575555"/>
                          </a:solidFill>
                          <a:latin typeface="Nexa Book"/>
                        </a:rPr>
                        <a:t> | </a:t>
                      </a:r>
                      <a:r>
                        <a:rPr sz="700">
                          <a:solidFill>
                            <a:srgbClr val="C00000"/>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9.0%</a:t>
                      </a:r>
                      <a:r>
                        <a:rPr sz="700">
                          <a:solidFill>
                            <a:srgbClr val="575555"/>
                          </a:solidFill>
                          <a:latin typeface="Nexa Book"/>
                        </a:rPr>
                        <a:t> | </a:t>
                      </a:r>
                      <a:r>
                        <a:rPr sz="700">
                          <a:solidFill>
                            <a:srgbClr val="00A097"/>
                          </a:solidFill>
                          <a:latin typeface="Nexa Book"/>
                        </a:rPr>
                        <a:t>+2.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2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73355576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Enfant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4.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72.9%</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8.3%</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76.5%</a:t>
                      </a:r>
                      <a:r>
                        <a:rPr sz="700">
                          <a:solidFill>
                            <a:srgbClr val="575555"/>
                          </a:solidFill>
                          <a:latin typeface="Nexa Book"/>
                        </a:rPr>
                        <a:t> | </a:t>
                      </a:r>
                      <a:r>
                        <a:rPr sz="700">
                          <a:solidFill>
                            <a:srgbClr val="00A097"/>
                          </a:solidFill>
                          <a:latin typeface="Nexa Book"/>
                        </a:rPr>
                        <a:t>+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3.0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5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55850108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Frais A Tartiner | Kiri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7%</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6.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9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9.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9096931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Frais A Tartiner | La Vache Qui Rit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3.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9305226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Frais A Tartiner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9.3%</a:t>
                      </a:r>
                      <a:r>
                        <a:rPr sz="700">
                          <a:solidFill>
                            <a:srgbClr val="575555"/>
                          </a:solidFill>
                          <a:latin typeface="Nexa Book"/>
                        </a:rPr>
                        <a:t> | </a:t>
                      </a:r>
                      <a:r>
                        <a:rPr sz="700">
                          <a:solidFill>
                            <a:srgbClr val="C00000"/>
                          </a:solidFill>
                          <a:latin typeface="Nexa Book"/>
                        </a:rPr>
                        <a:t>-2.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0.2%</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3.5%</a:t>
                      </a:r>
                      <a:r>
                        <a:rPr sz="700">
                          <a:solidFill>
                            <a:srgbClr val="575555"/>
                          </a:solidFill>
                          <a:latin typeface="Nexa Book"/>
                        </a:rPr>
                        <a:t> | </a:t>
                      </a:r>
                      <a:r>
                        <a:rPr sz="700">
                          <a:solidFill>
                            <a:srgbClr val="C00000"/>
                          </a:solidFill>
                          <a:latin typeface="Nexa Book"/>
                        </a:rP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5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2300815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nfant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63589656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Frais A Tartiner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0%</a:t>
                      </a:r>
                      <a:r>
                        <a:rPr sz="700">
                          <a:solidFill>
                            <a:srgbClr val="575555"/>
                          </a:solidFill>
                          <a:latin typeface="Nexa Book"/>
                        </a:rPr>
                        <a:t> | </a:t>
                      </a:r>
                      <a:r>
                        <a:rPr sz="700">
                          <a:solidFill>
                            <a:srgbClr val="C00000"/>
                          </a:solidFill>
                          <a:latin typeface="Nexa Book"/>
                        </a:rPr>
                        <a:t>-2.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1.3%</a:t>
                      </a:r>
                      <a:r>
                        <a:rPr sz="700">
                          <a:solidFill>
                            <a:srgbClr val="575555"/>
                          </a:solidFill>
                          <a:latin typeface="Nexa Book"/>
                        </a:rPr>
                        <a:t> | </a:t>
                      </a:r>
                      <a:r>
                        <a:rPr sz="700">
                          <a:solidFill>
                            <a:srgbClr val="C00000"/>
                          </a:solidFill>
                          <a:latin typeface="Nexa Book"/>
                        </a:rPr>
                        <a:t>-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2%</a:t>
                      </a:r>
                      <a:r>
                        <a:rPr sz="700">
                          <a:solidFill>
                            <a:srgbClr val="575555"/>
                          </a:solidFill>
                          <a:latin typeface="Nexa Book"/>
                        </a:rPr>
                        <a:t> | </a:t>
                      </a:r>
                      <a:r>
                        <a:rPr sz="700">
                          <a:solidFill>
                            <a:srgbClr val="C00000"/>
                          </a:solidFill>
                          <a:latin typeface="Nexa Book"/>
                        </a:rPr>
                        <a:t>-3.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5.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6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6486128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alade | Boursin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56375411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Retailer Value Sales &amp; Avg Price Per Kg | Salade | Be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Retaile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36"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2719112317"/>
                    </a:ext>
                  </a:extLst>
                </a:gridCol>
                <a:gridCol w="2487168">
                  <a:extLst>
                    <a:ext uri="{9D8B030D-6E8A-4147-A177-3AD203B41FA5}">
                      <a16:colId xmlns:a16="http://schemas.microsoft.com/office/drawing/2014/main" val="1610204172"/>
                    </a:ext>
                  </a:extLst>
                </a:gridCol>
                <a:gridCol w="2487168">
                  <a:extLst>
                    <a:ext uri="{9D8B030D-6E8A-4147-A177-3AD203B41FA5}">
                      <a16:colId xmlns:a16="http://schemas.microsoft.com/office/drawing/2014/main" val="4106856681"/>
                    </a:ext>
                  </a:extLst>
                </a:gridCol>
                <a:gridCol w="2487168">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1.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Region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58.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Region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el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1.0%</a:t>
                      </a:r>
                      <a:r>
                        <a:rPr sz="700">
                          <a:solidFill>
                            <a:srgbClr val="575555"/>
                          </a:solidFill>
                          <a:latin typeface="Nexa Book"/>
                        </a:rPr>
                        <a:t> | </a:t>
                      </a:r>
                      <a:r>
                        <a:rPr sz="700">
                          <a:solidFill>
                            <a:srgbClr val="C00000"/>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el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8.7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2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889303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Enfant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786856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Frais A Tartine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31829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Frais A Tartiner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215559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Frais A Tartiner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987694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alad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6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05662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Total Fromag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5456277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alad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9808283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alad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745866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5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617693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6386539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990565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7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0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99637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95.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177046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655680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8895204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581046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Total Fromag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96232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230967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10555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9222997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2080160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1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7310734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9390256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581236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9157166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705461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2242310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oft Chees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7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0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3733016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6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465112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1617896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4984289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Total Fromag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5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7322669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Total Fromag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8893981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ctor | Total Fromag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8606794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Total Fromag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5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4684417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Total Fromag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5701617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Segment | Total Fromag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5330358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Total Fromag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79757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oft Chees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95.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5471481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Total Fromag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415632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Total Fromag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8528682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oft Chees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8138388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oft Chees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1704968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oft Chees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8349034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peritif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9452760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peritif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4141016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Aperitif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8563895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Ingredient A Chaud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9709496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Ingredient A Chaud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603656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Soft Chees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2699770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Ingredient A Chaud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6072210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nfant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9616739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nfant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0455191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Enfant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4226096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Frais A Tartiner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4962358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Frais A Tartiner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9511183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Frais A Tartiner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0915505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alad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412753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alad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9020521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Companies | Salad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55198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peritif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7750943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1819612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6213099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8095815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1709975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3783598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6780658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2764604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4942611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1159155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446909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peritif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2148524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947556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6720630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4267609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3822616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4048802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0860178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3335819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3010393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61710008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62468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Companies | Aperitif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6547382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9439410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Total Fromag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1531238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Total Fromag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9977062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ctor | Total Fromag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9198894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Total Fromag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28554074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Total Fromag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70558234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Segment | Total Fromag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7095975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Kiri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Kiri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3%</a:t>
                      </a:r>
                      <a:r>
                        <a:rPr sz="700">
                          <a:solidFill>
                            <a:srgbClr val="575555"/>
                          </a:solidFill>
                          <a:latin typeface="Nexa Book"/>
                        </a:rPr>
                        <a:t> | </a:t>
                      </a:r>
                      <a:r>
                        <a:rPr sz="700">
                          <a:solidFill>
                            <a:srgbClr val="575555"/>
                          </a:solidFill>
                          <a:latin typeface="Nexa Book"/>
                        </a:rP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Kiri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3.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10222447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La Vache Qui Rit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La Vache Qui Rit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8%</a:t>
                      </a:r>
                      <a:r>
                        <a:rPr sz="700">
                          <a:solidFill>
                            <a:srgbClr val="575555"/>
                          </a:solidFill>
                          <a:latin typeface="Nexa Book"/>
                        </a:rPr>
                        <a:t> | </a:t>
                      </a:r>
                      <a:r>
                        <a:rPr sz="700">
                          <a:solidFill>
                            <a:srgbClr val="575555"/>
                          </a:solidFill>
                          <a:latin typeface="Nexa Book"/>
                        </a:rPr>
                        <a:t>0.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0.0%</a:t>
                      </a:r>
                      <a:r>
                        <a:rPr sz="700">
                          <a:solidFill>
                            <a:srgbClr val="575555"/>
                          </a:solidFill>
                          <a:latin typeface="Nexa Book"/>
                        </a:rPr>
                        <a:t> | </a:t>
                      </a:r>
                      <a:r>
                        <a:rPr sz="700">
                          <a:solidFill>
                            <a:srgbClr val="C00000"/>
                          </a:solidFill>
                          <a:latin typeface="Nexa Book"/>
                        </a:rPr>
                        <a:t>-5.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La Vache Qui Rit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5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7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36352472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t>Sector Value Sales &amp; Avg Price Per Kg | Total Fromage | Boursin | NATIONAL | P3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 Value Sales &amp; Avg Price Per Kg (Replace with So What)</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1928" cy="1287176"/>
        </p:xfrm>
        <a:graphic>
          <a:graphicData uri="http://schemas.openxmlformats.org/drawingml/2006/table">
            <a:tbl>
              <a:tblPr firstRow="1" bandRow="1">
                <a:tableStyleId>{5940675A-B579-460E-94D1-54222C63F5DA}</a:tableStyleId>
              </a:tblPr>
              <a:tblGrid>
                <a:gridCol w="1170432">
                  <a:extLst>
                    <a:ext uri="{9D8B030D-6E8A-4147-A177-3AD203B41FA5}">
                      <a16:colId xmlns:a16="http://schemas.microsoft.com/office/drawing/2014/main" val="384709931"/>
                    </a:ext>
                  </a:extLst>
                </a:gridCol>
                <a:gridCol w="532964">
                  <a:extLst>
                    <a:ext uri="{9D8B030D-6E8A-4147-A177-3AD203B41FA5}">
                      <a16:colId xmlns:a16="http://schemas.microsoft.com/office/drawing/2014/main" val="217012177"/>
                    </a:ext>
                  </a:extLst>
                </a:gridCol>
                <a:gridCol w="532964">
                  <a:extLst>
                    <a:ext uri="{9D8B030D-6E8A-4147-A177-3AD203B41FA5}">
                      <a16:colId xmlns:a16="http://schemas.microsoft.com/office/drawing/2014/main" val="2084146792"/>
                    </a:ext>
                  </a:extLst>
                </a:gridCol>
                <a:gridCol w="532964">
                  <a:extLst>
                    <a:ext uri="{9D8B030D-6E8A-4147-A177-3AD203B41FA5}">
                      <a16:colId xmlns:a16="http://schemas.microsoft.com/office/drawing/2014/main" val="586326706"/>
                    </a:ext>
                  </a:extLst>
                </a:gridCol>
                <a:gridCol w="532964">
                  <a:extLst>
                    <a:ext uri="{9D8B030D-6E8A-4147-A177-3AD203B41FA5}">
                      <a16:colId xmlns:a16="http://schemas.microsoft.com/office/drawing/2014/main" val="786404783"/>
                    </a:ext>
                  </a:extLst>
                </a:gridCol>
                <a:gridCol w="532964">
                  <a:extLst>
                    <a:ext uri="{9D8B030D-6E8A-4147-A177-3AD203B41FA5}">
                      <a16:colId xmlns:a16="http://schemas.microsoft.com/office/drawing/2014/main" val="2712606379"/>
                    </a:ext>
                  </a:extLst>
                </a:gridCol>
                <a:gridCol w="532964">
                  <a:extLst>
                    <a:ext uri="{9D8B030D-6E8A-4147-A177-3AD203B41FA5}">
                      <a16:colId xmlns:a16="http://schemas.microsoft.com/office/drawing/2014/main" val="2334528175"/>
                    </a:ext>
                  </a:extLst>
                </a:gridCol>
                <a:gridCol w="532964">
                  <a:extLst>
                    <a:ext uri="{9D8B030D-6E8A-4147-A177-3AD203B41FA5}">
                      <a16:colId xmlns:a16="http://schemas.microsoft.com/office/drawing/2014/main" val="3835393650"/>
                    </a:ext>
                  </a:extLst>
                </a:gridCol>
                <a:gridCol w="532964">
                  <a:extLst>
                    <a:ext uri="{9D8B030D-6E8A-4147-A177-3AD203B41FA5}">
                      <a16:colId xmlns:a16="http://schemas.microsoft.com/office/drawing/2014/main" val="3705822644"/>
                    </a:ext>
                  </a:extLst>
                </a:gridCol>
                <a:gridCol w="532964">
                  <a:extLst>
                    <a:ext uri="{9D8B030D-6E8A-4147-A177-3AD203B41FA5}">
                      <a16:colId xmlns:a16="http://schemas.microsoft.com/office/drawing/2014/main" val="184560546"/>
                    </a:ext>
                  </a:extLst>
                </a:gridCol>
                <a:gridCol w="532964">
                  <a:extLst>
                    <a:ext uri="{9D8B030D-6E8A-4147-A177-3AD203B41FA5}">
                      <a16:colId xmlns:a16="http://schemas.microsoft.com/office/drawing/2014/main" val="712457864"/>
                    </a:ext>
                  </a:extLst>
                </a:gridCol>
                <a:gridCol w="532964">
                  <a:extLst>
                    <a:ext uri="{9D8B030D-6E8A-4147-A177-3AD203B41FA5}">
                      <a16:colId xmlns:a16="http://schemas.microsoft.com/office/drawing/2014/main" val="2719112317"/>
                    </a:ext>
                  </a:extLst>
                </a:gridCol>
                <a:gridCol w="532964">
                  <a:extLst>
                    <a:ext uri="{9D8B030D-6E8A-4147-A177-3AD203B41FA5}">
                      <a16:colId xmlns:a16="http://schemas.microsoft.com/office/drawing/2014/main" val="1610204172"/>
                    </a:ext>
                  </a:extLst>
                </a:gridCol>
                <a:gridCol w="532964">
                  <a:extLst>
                    <a:ext uri="{9D8B030D-6E8A-4147-A177-3AD203B41FA5}">
                      <a16:colId xmlns:a16="http://schemas.microsoft.com/office/drawing/2014/main" val="4106856681"/>
                    </a:ext>
                  </a:extLst>
                </a:gridCol>
                <a:gridCol w="532964">
                  <a:extLst>
                    <a:ext uri="{9D8B030D-6E8A-4147-A177-3AD203B41FA5}">
                      <a16:colId xmlns:a16="http://schemas.microsoft.com/office/drawing/2014/main" val="4292680004"/>
                    </a:ext>
                  </a:extLst>
                </a:gridCol>
              </a:tblGrid>
              <a:tr h="251309">
                <a:tc>
                  <a:txBody>
                    <a:bodyPr/>
                    <a:lstStyle/>
                    <a:p>
                      <a:pPr>
                        <a:defRPr sz="700">
                          <a:solidFill>
                            <a:srgbClr val="FFFFFF"/>
                          </a:solidFill>
                          <a:latin typeface="Nexa Bold (Headings)"/>
                        </a:defRPr>
                      </a:pPr>
                      <a:r>
                        <a:t>Growth Contribution</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4.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3%</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7.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4.1%</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19592128"/>
                  </a:ext>
                </a:extLst>
              </a:tr>
              <a:tr h="267956">
                <a:tc>
                  <a:txBody>
                    <a:bodyPr/>
                    <a:lstStyle/>
                    <a:p>
                      <a:pPr>
                        <a:defRPr sz="700">
                          <a:solidFill>
                            <a:srgbClr val="FFFFFF"/>
                          </a:solidFill>
                          <a:latin typeface="Nexa Bold (Headings)"/>
                        </a:defRPr>
                      </a:pPr>
                      <a:r>
                        <a:t>Sector WoB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84.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0.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91045546"/>
                  </a:ext>
                </a:extLst>
              </a:tr>
              <a:tr h="251309">
                <a:tc>
                  <a:txBody>
                    <a:bodyPr/>
                    <a:lstStyle/>
                    <a:p>
                      <a:pPr>
                        <a:defRPr sz="700">
                          <a:solidFill>
                            <a:srgbClr val="FFFFFF"/>
                          </a:solidFill>
                          <a:latin typeface="Nexa Bold (Headings)"/>
                        </a:defRPr>
                      </a:pPr>
                      <a:r>
                        <a:t>Sector Avg Price Index</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t>117</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7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9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6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0</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4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6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20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0272399"/>
                  </a:ext>
                </a:extLst>
              </a:tr>
              <a:tr h="251309">
                <a:tc>
                  <a:txBody>
                    <a:bodyPr/>
                    <a:lstStyle/>
                    <a:p>
                      <a:pPr>
                        <a:defRPr sz="700">
                          <a:solidFill>
                            <a:srgbClr val="FFFFFF"/>
                          </a:solidFill>
                          <a:latin typeface="Nexa Bold (Headings)"/>
                        </a:defRPr>
                      </a:pPr>
                      <a:r>
                        <a:t>Boursin Share | DYA</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6%</a:t>
                      </a:r>
                      <a:r>
                        <a:rPr sz="700">
                          <a:solidFill>
                            <a:srgbClr val="575555"/>
                          </a:solidFill>
                          <a:latin typeface="Nexa Book"/>
                        </a:rPr>
                        <a:t> | </a:t>
                      </a:r>
                      <a:r>
                        <a:rPr sz="700">
                          <a:solidFill>
                            <a:srgbClr val="C00000"/>
                          </a:solidFill>
                          <a:latin typeface="Nexa Book"/>
                        </a:rPr>
                        <a:t>-0.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8.8%</a:t>
                      </a:r>
                      <a:r>
                        <a:rPr sz="700">
                          <a:solidFill>
                            <a:srgbClr val="575555"/>
                          </a:solidFill>
                          <a:latin typeface="Nexa Book"/>
                        </a:rPr>
                        <a:t> | </a:t>
                      </a:r>
                      <a:r>
                        <a:rPr sz="700">
                          <a:solidFill>
                            <a:srgbClr val="C00000"/>
                          </a:solidFill>
                          <a:latin typeface="Nexa Book"/>
                        </a:rPr>
                        <a:t>-1.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2.1%</a:t>
                      </a:r>
                      <a:r>
                        <a:rPr sz="700">
                          <a:solidFill>
                            <a:srgbClr val="575555"/>
                          </a:solidFill>
                          <a:latin typeface="Nexa Book"/>
                        </a:rPr>
                        <a:t> | </a:t>
                      </a:r>
                      <a:r>
                        <a:rPr sz="700">
                          <a:solidFill>
                            <a:srgbClr val="00A097"/>
                          </a:solidFill>
                          <a:latin typeface="Nexa Book"/>
                        </a:rPr>
                        <a:t>+0.5%</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1.4%</a:t>
                      </a:r>
                      <a:r>
                        <a:rPr sz="700">
                          <a:solidFill>
                            <a:srgbClr val="575555"/>
                          </a:solidFill>
                          <a:latin typeface="Nexa Book"/>
                        </a:rPr>
                        <a:t> | </a:t>
                      </a:r>
                      <a:r>
                        <a:rPr sz="700">
                          <a:solidFill>
                            <a:srgbClr val="C00000"/>
                          </a:solidFill>
                          <a:latin typeface="Nexa Book"/>
                        </a:rPr>
                        <a:t>-0.8%</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rPr sz="700">
                          <a:latin typeface="Nexa Book"/>
                        </a:rPr>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35109151"/>
                  </a:ext>
                </a:extLst>
              </a:tr>
              <a:tr h="251309">
                <a:tc>
                  <a:txBody>
                    <a:bodyPr/>
                    <a:lstStyle/>
                    <a:p>
                      <a:pPr>
                        <a:defRPr sz="700">
                          <a:solidFill>
                            <a:srgbClr val="FFFFFF"/>
                          </a:solidFill>
                          <a:latin typeface="Nexa Bold (Headings)"/>
                        </a:defRPr>
                      </a:pPr>
                      <a:r>
                        <a:t>Boursin Avg Price/KG (€)</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097"/>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84</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35.06</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1.29</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r>
                        <a:t>15.32</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defRPr sz="700">
                          <a:latin typeface="Nexa Book"/>
                        </a:defRPr>
                      </a:p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sz="700">
                <a:solidFill>
                  <a:srgbClr val="575555"/>
                </a:solidFill>
                <a:latin typeface="Nexa Bold (Headings)"/>
              </a:defRPr>
            </a:pPr>
            <a:r>
              <a:t>Avg Price/Kg (€)</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11/2025</a:t>
            </a:fld>
            <a:endParaRPr lang="en-US"/>
          </a:p>
        </p:txBody>
      </p:sp>
    </p:spTree>
    <p:extLst>
      <p:ext uri="{BB962C8B-B14F-4D97-AF65-F5344CB8AC3E}">
        <p14:creationId xmlns:p14="http://schemas.microsoft.com/office/powerpoint/2010/main" val="975219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11654</Words>
  <Application>Microsoft Office PowerPoint</Application>
  <PresentationFormat>On-screen Show (16:9)</PresentationFormat>
  <Paragraphs>3376</Paragraphs>
  <Slides>142</Slides>
  <Notes>9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2</vt:i4>
      </vt:variant>
    </vt:vector>
  </HeadingPairs>
  <TitlesOfParts>
    <vt:vector size="151" baseType="lpstr">
      <vt:lpstr>Aptos</vt:lpstr>
      <vt:lpstr>Arial</vt:lpstr>
      <vt:lpstr>Nexa</vt:lpstr>
      <vt:lpstr>Nexa Bold</vt:lpstr>
      <vt:lpstr>Nexa Book</vt:lpstr>
      <vt:lpstr>Nexa Book Italic</vt:lpstr>
      <vt:lpstr>Open Sans</vt:lpstr>
      <vt:lpstr>PricingOne Light Template Oct 2024</vt:lpstr>
      <vt:lpstr>think-cell Slide</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11T08:3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